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1.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3.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4.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5.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4.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5.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6.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7.xml" ContentType="application/vnd.openxmlformats-officedocument.themeOverride+xml"/>
  <Override PartName="/ppt/notesSlides/notesSlide18.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2" r:id="rId9"/>
    <p:sldId id="267" r:id="rId10"/>
    <p:sldId id="272" r:id="rId11"/>
    <p:sldId id="284" r:id="rId12"/>
    <p:sldId id="263" r:id="rId13"/>
    <p:sldId id="279" r:id="rId14"/>
    <p:sldId id="262" r:id="rId15"/>
    <p:sldId id="282" r:id="rId16"/>
    <p:sldId id="285" r:id="rId17"/>
    <p:sldId id="283" r:id="rId18"/>
    <p:sldId id="276" r:id="rId19"/>
    <p:sldId id="275" r:id="rId20"/>
    <p:sldId id="277" r:id="rId21"/>
    <p:sldId id="289"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0F0"/>
    <a:srgbClr val="352D86"/>
    <a:srgbClr val="00B050"/>
    <a:srgbClr val="002060"/>
    <a:srgbClr val="FAC800"/>
    <a:srgbClr val="342C86"/>
    <a:srgbClr val="DF1F1D"/>
    <a:srgbClr val="00695A"/>
    <a:srgbClr val="00A9DA"/>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C7690B-3A81-4568-9FB7-F7088CA28BAB}" v="1" dt="2024-12-16T09:46:36.971"/>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5" autoAdjust="0"/>
    <p:restoredTop sz="93885" autoAdjust="0"/>
  </p:normalViewPr>
  <p:slideViewPr>
    <p:cSldViewPr snapToGrid="0">
      <p:cViewPr varScale="1">
        <p:scale>
          <a:sx n="77" d="100"/>
          <a:sy n="77" d="100"/>
        </p:scale>
        <p:origin x="883" y="67"/>
      </p:cViewPr>
      <p:guideLst/>
    </p:cSldViewPr>
  </p:slideViewPr>
  <p:outlineViewPr>
    <p:cViewPr>
      <p:scale>
        <a:sx n="33" d="100"/>
        <a:sy n="33" d="100"/>
      </p:scale>
      <p:origin x="0" y="-834"/>
    </p:cViewPr>
  </p:outlineViewPr>
  <p:notesTextViewPr>
    <p:cViewPr>
      <p:scale>
        <a:sx n="100" d="100"/>
        <a:sy n="100" d="100"/>
      </p:scale>
      <p:origin x="0" y="-14"/>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c36523e3-11ed-4011-9a41-1983019c0634" providerId="ADAL" clId="{13C7690B-3A81-4568-9FB7-F7088CA28BAB}"/>
    <pc:docChg chg="custSel modSld">
      <pc:chgData name="Michaelsen, Børje" userId="c36523e3-11ed-4011-9a41-1983019c0634" providerId="ADAL" clId="{13C7690B-3A81-4568-9FB7-F7088CA28BAB}" dt="2024-12-16T09:46:44.030" v="5" actId="1076"/>
      <pc:docMkLst>
        <pc:docMk/>
      </pc:docMkLst>
      <pc:sldChg chg="addSp delSp modSp mod modNotesTx">
        <pc:chgData name="Michaelsen, Børje" userId="c36523e3-11ed-4011-9a41-1983019c0634" providerId="ADAL" clId="{13C7690B-3A81-4568-9FB7-F7088CA28BAB}" dt="2024-12-16T09:46:44.030" v="5" actId="1076"/>
        <pc:sldMkLst>
          <pc:docMk/>
          <pc:sldMk cId="4206418978" sldId="283"/>
        </pc:sldMkLst>
        <pc:spChg chg="mod">
          <ac:chgData name="Michaelsen, Børje" userId="c36523e3-11ed-4011-9a41-1983019c0634" providerId="ADAL" clId="{13C7690B-3A81-4568-9FB7-F7088CA28BAB}" dt="2024-12-16T09:45:59.919" v="1" actId="20577"/>
          <ac:spMkLst>
            <pc:docMk/>
            <pc:sldMk cId="4206418978" sldId="283"/>
            <ac:spMk id="12" creationId="{00000000-0000-0000-0000-000000000000}"/>
          </ac:spMkLst>
        </pc:spChg>
        <pc:graphicFrameChg chg="add mod">
          <ac:chgData name="Michaelsen, Børje" userId="c36523e3-11ed-4011-9a41-1983019c0634" providerId="ADAL" clId="{13C7690B-3A81-4568-9FB7-F7088CA28BAB}" dt="2024-12-16T09:46:44.030" v="5" actId="1076"/>
          <ac:graphicFrameMkLst>
            <pc:docMk/>
            <pc:sldMk cId="4206418978" sldId="283"/>
            <ac:graphicFrameMk id="2" creationId="{79A0F035-6E3E-5A03-587D-E8262889D0DF}"/>
          </ac:graphicFrameMkLst>
        </pc:graphicFrameChg>
        <pc:graphicFrameChg chg="del">
          <ac:chgData name="Michaelsen, Børje" userId="c36523e3-11ed-4011-9a41-1983019c0634" providerId="ADAL" clId="{13C7690B-3A81-4568-9FB7-F7088CA28BAB}" dt="2024-12-16T09:46:08.384" v="2" actId="478"/>
          <ac:graphicFrameMkLst>
            <pc:docMk/>
            <pc:sldMk cId="4206418978" sldId="283"/>
            <ac:graphicFrameMk id="3" creationId="{9796ECC7-0AFC-5FC5-614A-267C90EE6928}"/>
          </ac:graphicFrameMkLst>
        </pc:graphicFrameChg>
      </pc:sldChg>
    </pc:docChg>
  </pc:docChgLst>
  <pc:docChgLst>
    <pc:chgData name="Michaelsen, Børje" userId="S::borje.michaelsen@agderfk.no::c36523e3-11ed-4011-9a41-1983019c0634" providerId="AD" clId="Web-{D7143E11-E421-7730-F1E3-9155B088E5CA}"/>
    <pc:docChg chg="modSld">
      <pc:chgData name="Michaelsen, Børje" userId="S::borje.michaelsen@agderfk.no::c36523e3-11ed-4011-9a41-1983019c0634" providerId="AD" clId="Web-{D7143E11-E421-7730-F1E3-9155B088E5CA}" dt="2024-08-13T13:07:45.678" v="7" actId="14100"/>
      <pc:docMkLst>
        <pc:docMk/>
      </pc:docMkLst>
      <pc:sldChg chg="addSp delSp modSp modNotes">
        <pc:chgData name="Michaelsen, Børje" userId="S::borje.michaelsen@agderfk.no::c36523e3-11ed-4011-9a41-1983019c0634" providerId="AD" clId="Web-{D7143E11-E421-7730-F1E3-9155B088E5CA}" dt="2024-08-13T13:07:45.678" v="7" actId="14100"/>
        <pc:sldMkLst>
          <pc:docMk/>
          <pc:sldMk cId="340623003" sldId="274"/>
        </pc:sldMkLst>
        <pc:graphicFrameChg chg="del">
          <ac:chgData name="Michaelsen, Børje" userId="S::borje.michaelsen@agderfk.no::c36523e3-11ed-4011-9a41-1983019c0634" providerId="AD" clId="Web-{D7143E11-E421-7730-F1E3-9155B088E5CA}" dt="2024-08-13T13:07:21.116" v="2"/>
          <ac:graphicFrameMkLst>
            <pc:docMk/>
            <pc:sldMk cId="340623003" sldId="274"/>
            <ac:graphicFrameMk id="7" creationId="{00000000-0008-0000-0100-000002000000}"/>
          </ac:graphicFrameMkLst>
        </pc:graphicFrameChg>
        <pc:picChg chg="add mod">
          <ac:chgData name="Michaelsen, Børje" userId="S::borje.michaelsen@agderfk.no::c36523e3-11ed-4011-9a41-1983019c0634" providerId="AD" clId="Web-{D7143E11-E421-7730-F1E3-9155B088E5CA}" dt="2024-08-13T13:07:45.678" v="7" actId="14100"/>
          <ac:picMkLst>
            <pc:docMk/>
            <pc:sldMk cId="340623003" sldId="274"/>
            <ac:picMk id="6" creationId="{EE473E3C-08C4-773C-E8A2-D476A1A1A92C}"/>
          </ac:picMkLst>
        </pc:picChg>
      </pc:sldChg>
    </pc:docChg>
  </pc:docChgLst>
  <pc:docChgLst>
    <pc:chgData name="Lindaas, Gunnar Ogwyn" userId="9f116345-df17-4e62-ba90-3f104129b024" providerId="ADAL" clId="{17AE41FF-8C02-46D9-BE6D-833068F64AFC}"/>
    <pc:docChg chg="modSld">
      <pc:chgData name="Lindaas, Gunnar Ogwyn" userId="9f116345-df17-4e62-ba90-3f104129b024" providerId="ADAL" clId="{17AE41FF-8C02-46D9-BE6D-833068F64AFC}" dt="2023-09-21T12:29:43.335" v="12" actId="20577"/>
      <pc:docMkLst>
        <pc:docMk/>
      </pc:docMkLst>
      <pc:sldChg chg="modSp mod">
        <pc:chgData name="Lindaas, Gunnar Ogwyn" userId="9f116345-df17-4e62-ba90-3f104129b024" providerId="ADAL" clId="{17AE41FF-8C02-46D9-BE6D-833068F64AFC}" dt="2023-09-21T12:29:43.335" v="12" actId="20577"/>
        <pc:sldMkLst>
          <pc:docMk/>
          <pc:sldMk cId="2044844844" sldId="273"/>
        </pc:sldMkLst>
        <pc:spChg chg="mod">
          <ac:chgData name="Lindaas, Gunnar Ogwyn" userId="9f116345-df17-4e62-ba90-3f104129b024" providerId="ADAL" clId="{17AE41FF-8C02-46D9-BE6D-833068F64AFC}" dt="2023-09-21T12:29:43.335" v="12" actId="20577"/>
          <ac:spMkLst>
            <pc:docMk/>
            <pc:sldMk cId="2044844844" sldId="273"/>
            <ac:spMk id="5" creationId="{00000000-0000-0000-0000-000000000000}"/>
          </ac:spMkLst>
        </pc:spChg>
        <pc:picChg chg="mod">
          <ac:chgData name="Lindaas, Gunnar Ogwyn" userId="9f116345-df17-4e62-ba90-3f104129b024" providerId="ADAL" clId="{17AE41FF-8C02-46D9-BE6D-833068F64AFC}" dt="2023-09-21T12:28:37.423" v="1" actId="14100"/>
          <ac:picMkLst>
            <pc:docMk/>
            <pc:sldMk cId="2044844844" sldId="273"/>
            <ac:picMk id="4" creationId="{00000000-0000-0000-0000-000000000000}"/>
          </ac:picMkLst>
        </pc:picChg>
      </pc:sldChg>
    </pc:docChg>
  </pc:docChgLst>
  <pc:docChgLst>
    <pc:chgData name="Michaelsen, Børje" userId="c36523e3-11ed-4011-9a41-1983019c0634" providerId="ADAL" clId="{120D5687-AD8B-4272-A70C-1A038C04FF7C}"/>
    <pc:docChg chg="undo custSel modSld">
      <pc:chgData name="Michaelsen, Børje" userId="c36523e3-11ed-4011-9a41-1983019c0634" providerId="ADAL" clId="{120D5687-AD8B-4272-A70C-1A038C04FF7C}" dt="2024-08-28T11:16:31.674" v="883"/>
      <pc:docMkLst>
        <pc:docMk/>
      </pc:docMkLst>
      <pc:sldChg chg="modSp mod modNotesTx">
        <pc:chgData name="Michaelsen, Børje" userId="c36523e3-11ed-4011-9a41-1983019c0634" providerId="ADAL" clId="{120D5687-AD8B-4272-A70C-1A038C04FF7C}" dt="2024-08-06T08:57:48.834" v="365" actId="20577"/>
        <pc:sldMkLst>
          <pc:docMk/>
          <pc:sldMk cId="1380386693" sldId="260"/>
        </pc:sldMkLst>
        <pc:graphicFrameChg chg="modGraphic">
          <ac:chgData name="Michaelsen, Børje" userId="c36523e3-11ed-4011-9a41-1983019c0634" providerId="ADAL" clId="{120D5687-AD8B-4272-A70C-1A038C04FF7C}" dt="2024-08-06T08:53:34.341" v="335"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120D5687-AD8B-4272-A70C-1A038C04FF7C}" dt="2024-08-06T08:57:48.834" v="365"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120D5687-AD8B-4272-A70C-1A038C04FF7C}" dt="2024-08-06T08:55:56.195" v="357"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120D5687-AD8B-4272-A70C-1A038C04FF7C}" dt="2024-08-06T08:57:21.730" v="363" actId="20577"/>
          <ac:graphicFrameMkLst>
            <pc:docMk/>
            <pc:sldMk cId="1380386693" sldId="260"/>
            <ac:graphicFrameMk id="10" creationId="{00000000-0000-0000-0000-000000000000}"/>
          </ac:graphicFrameMkLst>
        </pc:graphicFrameChg>
      </pc:sldChg>
      <pc:sldChg chg="addSp delSp modSp mod">
        <pc:chgData name="Michaelsen, Børje" userId="c36523e3-11ed-4011-9a41-1983019c0634" providerId="ADAL" clId="{120D5687-AD8B-4272-A70C-1A038C04FF7C}" dt="2024-08-07T14:17:04.332" v="652" actId="27918"/>
        <pc:sldMkLst>
          <pc:docMk/>
          <pc:sldMk cId="3237931907" sldId="263"/>
        </pc:sldMkLst>
        <pc:spChg chg="mod">
          <ac:chgData name="Michaelsen, Børje" userId="c36523e3-11ed-4011-9a41-1983019c0634" providerId="ADAL" clId="{120D5687-AD8B-4272-A70C-1A038C04FF7C}" dt="2024-08-07T12:12:37.949" v="567" actId="1076"/>
          <ac:spMkLst>
            <pc:docMk/>
            <pc:sldMk cId="3237931907" sldId="263"/>
            <ac:spMk id="10" creationId="{00000000-0000-0000-0000-000000000000}"/>
          </ac:spMkLst>
        </pc:spChg>
        <pc:graphicFrameChg chg="del">
          <ac:chgData name="Michaelsen, Børje" userId="c36523e3-11ed-4011-9a41-1983019c0634" providerId="ADAL" clId="{120D5687-AD8B-4272-A70C-1A038C04FF7C}" dt="2024-08-07T12:09:48.887" v="490"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120D5687-AD8B-4272-A70C-1A038C04FF7C}" dt="2024-08-07T12:12:43.192" v="579" actId="1035"/>
          <ac:graphicFrameMkLst>
            <pc:docMk/>
            <pc:sldMk cId="3237931907" sldId="263"/>
            <ac:graphicFrameMk id="4" creationId="{900796C7-9568-AA7D-48B1-D162673FAB3E}"/>
          </ac:graphicFrameMkLst>
        </pc:graphicFrameChg>
        <pc:graphicFrameChg chg="del">
          <ac:chgData name="Michaelsen, Børje" userId="c36523e3-11ed-4011-9a41-1983019c0634" providerId="ADAL" clId="{120D5687-AD8B-4272-A70C-1A038C04FF7C}" dt="2024-08-07T12:10:09.105" v="494"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120D5687-AD8B-4272-A70C-1A038C04FF7C}" dt="2024-08-07T12:10:23.903" v="499" actId="478"/>
          <ac:graphicFrameMkLst>
            <pc:docMk/>
            <pc:sldMk cId="3237931907" sldId="263"/>
            <ac:graphicFrameMk id="6" creationId="{E9E5DDBA-A07F-CE6E-551D-A0D84574F5FB}"/>
          </ac:graphicFrameMkLst>
        </pc:graphicFrameChg>
        <pc:graphicFrameChg chg="add mod">
          <ac:chgData name="Michaelsen, Børje" userId="c36523e3-11ed-4011-9a41-1983019c0634" providerId="ADAL" clId="{120D5687-AD8B-4272-A70C-1A038C04FF7C}" dt="2024-08-07T12:12:48.781" v="580" actId="1076"/>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120D5687-AD8B-4272-A70C-1A038C04FF7C}" dt="2024-08-07T12:11:30.286" v="511" actId="13926"/>
          <ac:graphicFrameMkLst>
            <pc:docMk/>
            <pc:sldMk cId="3237931907" sldId="263"/>
            <ac:graphicFrameMk id="8" creationId="{19C2B1CC-D69E-38E2-B6EE-92BDA4CA6682}"/>
          </ac:graphicFrameMkLst>
        </pc:graphicFrameChg>
      </pc:sldChg>
      <pc:sldChg chg="addSp delSp modSp mod modNotesTx">
        <pc:chgData name="Michaelsen, Børje" userId="c36523e3-11ed-4011-9a41-1983019c0634" providerId="ADAL" clId="{120D5687-AD8B-4272-A70C-1A038C04FF7C}" dt="2024-08-28T11:16:31.674" v="883"/>
        <pc:sldMkLst>
          <pc:docMk/>
          <pc:sldMk cId="394652420" sldId="268"/>
        </pc:sldMkLst>
        <pc:spChg chg="mod">
          <ac:chgData name="Michaelsen, Børje" userId="c36523e3-11ed-4011-9a41-1983019c0634" providerId="ADAL" clId="{120D5687-AD8B-4272-A70C-1A038C04FF7C}" dt="2024-08-28T11:15:46.466" v="869" actId="14100"/>
          <ac:spMkLst>
            <pc:docMk/>
            <pc:sldMk cId="394652420" sldId="268"/>
            <ac:spMk id="3" creationId="{00000000-0000-0000-0000-000000000000}"/>
          </ac:spMkLst>
        </pc:spChg>
        <pc:spChg chg="mod">
          <ac:chgData name="Michaelsen, Børje" userId="c36523e3-11ed-4011-9a41-1983019c0634" providerId="ADAL" clId="{120D5687-AD8B-4272-A70C-1A038C04FF7C}" dt="2024-08-28T11:15:51.841" v="878" actId="20577"/>
          <ac:spMkLst>
            <pc:docMk/>
            <pc:sldMk cId="394652420" sldId="268"/>
            <ac:spMk id="5" creationId="{00000000-0000-0000-0000-000000000000}"/>
          </ac:spMkLst>
        </pc:spChg>
        <pc:graphicFrameChg chg="add mod">
          <ac:chgData name="Michaelsen, Børje" userId="c36523e3-11ed-4011-9a41-1983019c0634" providerId="ADAL" clId="{120D5687-AD8B-4272-A70C-1A038C04FF7C}" dt="2024-08-28T11:16:22.323" v="882" actId="1076"/>
          <ac:graphicFrameMkLst>
            <pc:docMk/>
            <pc:sldMk cId="394652420" sldId="268"/>
            <ac:graphicFrameMk id="7" creationId="{D005A174-951D-5523-A50A-72D519C22056}"/>
          </ac:graphicFrameMkLst>
        </pc:graphicFrameChg>
        <pc:picChg chg="del">
          <ac:chgData name="Michaelsen, Børje" userId="c36523e3-11ed-4011-9a41-1983019c0634" providerId="ADAL" clId="{120D5687-AD8B-4272-A70C-1A038C04FF7C}" dt="2024-08-28T11:15:56.274" v="879" actId="478"/>
          <ac:picMkLst>
            <pc:docMk/>
            <pc:sldMk cId="394652420" sldId="268"/>
            <ac:picMk id="4" creationId="{00000000-0000-0000-0000-000000000000}"/>
          </ac:picMkLst>
        </pc:picChg>
      </pc:sldChg>
      <pc:sldChg chg="addSp delSp modSp mod modNotesTx">
        <pc:chgData name="Michaelsen, Børje" userId="c36523e3-11ed-4011-9a41-1983019c0634" providerId="ADAL" clId="{120D5687-AD8B-4272-A70C-1A038C04FF7C}" dt="2024-08-05T08:13:30.084" v="149" actId="14100"/>
        <pc:sldMkLst>
          <pc:docMk/>
          <pc:sldMk cId="1763573476" sldId="269"/>
        </pc:sldMkLst>
        <pc:graphicFrameChg chg="add mod">
          <ac:chgData name="Michaelsen, Børje" userId="c36523e3-11ed-4011-9a41-1983019c0634" providerId="ADAL" clId="{120D5687-AD8B-4272-A70C-1A038C04FF7C}" dt="2024-08-05T08:13:30.084" v="149" actId="14100"/>
          <ac:graphicFrameMkLst>
            <pc:docMk/>
            <pc:sldMk cId="1763573476" sldId="269"/>
            <ac:graphicFrameMk id="5" creationId="{C42B3858-0AA0-2354-2DD0-92C6E96A6D73}"/>
          </ac:graphicFrameMkLst>
        </pc:graphicFrameChg>
        <pc:graphicFrameChg chg="del">
          <ac:chgData name="Michaelsen, Børje" userId="c36523e3-11ed-4011-9a41-1983019c0634" providerId="ADAL" clId="{120D5687-AD8B-4272-A70C-1A038C04FF7C}" dt="2024-08-05T08:10:21.897" v="67" actId="478"/>
          <ac:graphicFrameMkLst>
            <pc:docMk/>
            <pc:sldMk cId="1763573476" sldId="269"/>
            <ac:graphicFrameMk id="6" creationId="{797AC478-8122-82A9-CE54-468B12350597}"/>
          </ac:graphicFrameMkLst>
        </pc:graphicFrameChg>
        <pc:picChg chg="mod">
          <ac:chgData name="Michaelsen, Børje" userId="c36523e3-11ed-4011-9a41-1983019c0634" providerId="ADAL" clId="{120D5687-AD8B-4272-A70C-1A038C04FF7C}" dt="2024-08-05T08:12:08.759" v="144" actId="1038"/>
          <ac:picMkLst>
            <pc:docMk/>
            <pc:sldMk cId="1763573476" sldId="269"/>
            <ac:picMk id="7" creationId="{C9F74E3D-19D7-CFDC-A408-BB919D1BC3DE}"/>
          </ac:picMkLst>
        </pc:picChg>
        <pc:picChg chg="mod">
          <ac:chgData name="Michaelsen, Børje" userId="c36523e3-11ed-4011-9a41-1983019c0634" providerId="ADAL" clId="{120D5687-AD8B-4272-A70C-1A038C04FF7C}" dt="2024-08-05T08:11:57.608" v="130" actId="1038"/>
          <ac:picMkLst>
            <pc:docMk/>
            <pc:sldMk cId="1763573476" sldId="269"/>
            <ac:picMk id="8" creationId="{D8E75CF3-BF4B-EA96-7FD2-5F7F13EEB061}"/>
          </ac:picMkLst>
        </pc:picChg>
        <pc:picChg chg="mod">
          <ac:chgData name="Michaelsen, Børje" userId="c36523e3-11ed-4011-9a41-1983019c0634" providerId="ADAL" clId="{120D5687-AD8B-4272-A70C-1A038C04FF7C}" dt="2024-08-05T08:12:03.368" v="135" actId="1038"/>
          <ac:picMkLst>
            <pc:docMk/>
            <pc:sldMk cId="1763573476" sldId="269"/>
            <ac:picMk id="9" creationId="{24D83ABF-A55D-3303-8524-684AD91E4900}"/>
          </ac:picMkLst>
        </pc:picChg>
        <pc:picChg chg="mod">
          <ac:chgData name="Michaelsen, Børje" userId="c36523e3-11ed-4011-9a41-1983019c0634" providerId="ADAL" clId="{120D5687-AD8B-4272-A70C-1A038C04FF7C}" dt="2024-08-05T08:11:48.119" v="117" actId="1038"/>
          <ac:picMkLst>
            <pc:docMk/>
            <pc:sldMk cId="1763573476" sldId="269"/>
            <ac:picMk id="10" creationId="{2BEBB111-7B73-AC31-0042-4B37372A00FA}"/>
          </ac:picMkLst>
        </pc:picChg>
        <pc:picChg chg="mod">
          <ac:chgData name="Michaelsen, Børje" userId="c36523e3-11ed-4011-9a41-1983019c0634" providerId="ADAL" clId="{120D5687-AD8B-4272-A70C-1A038C04FF7C}" dt="2024-08-05T08:11:51.536" v="124" actId="1038"/>
          <ac:picMkLst>
            <pc:docMk/>
            <pc:sldMk cId="1763573476" sldId="269"/>
            <ac:picMk id="11" creationId="{D988B499-7D3E-F48B-452A-C536EDE9412B}"/>
          </ac:picMkLst>
        </pc:picChg>
      </pc:sldChg>
      <pc:sldChg chg="addSp delSp modSp mod modNotesTx">
        <pc:chgData name="Michaelsen, Børje" userId="c36523e3-11ed-4011-9a41-1983019c0634" providerId="ADAL" clId="{120D5687-AD8B-4272-A70C-1A038C04FF7C}" dt="2024-08-08T11:35:19.631" v="710" actId="6549"/>
        <pc:sldMkLst>
          <pc:docMk/>
          <pc:sldMk cId="1348694183" sldId="272"/>
        </pc:sldMkLst>
        <pc:spChg chg="mod">
          <ac:chgData name="Michaelsen, Børje" userId="c36523e3-11ed-4011-9a41-1983019c0634" providerId="ADAL" clId="{120D5687-AD8B-4272-A70C-1A038C04FF7C}" dt="2024-08-08T11:35:19.631" v="710" actId="6549"/>
          <ac:spMkLst>
            <pc:docMk/>
            <pc:sldMk cId="1348694183" sldId="272"/>
            <ac:spMk id="5" creationId="{00000000-0000-0000-0000-000000000000}"/>
          </ac:spMkLst>
        </pc:spChg>
        <pc:graphicFrameChg chg="mod modGraphic">
          <ac:chgData name="Michaelsen, Børje" userId="c36523e3-11ed-4011-9a41-1983019c0634" providerId="ADAL" clId="{120D5687-AD8B-4272-A70C-1A038C04FF7C}" dt="2024-08-08T11:34:52.413" v="687"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120D5687-AD8B-4272-A70C-1A038C04FF7C}" dt="2024-08-08T11:33:57.172" v="679"/>
          <ac:picMkLst>
            <pc:docMk/>
            <pc:sldMk cId="1348694183" sldId="272"/>
            <ac:picMk id="3" creationId="{1552B6A7-724F-2FB9-86BD-17AA08B272F9}"/>
          </ac:picMkLst>
        </pc:picChg>
        <pc:picChg chg="del">
          <ac:chgData name="Michaelsen, Børje" userId="c36523e3-11ed-4011-9a41-1983019c0634" providerId="ADAL" clId="{120D5687-AD8B-4272-A70C-1A038C04FF7C}" dt="2024-08-08T11:33:55.929" v="678" actId="478"/>
          <ac:picMkLst>
            <pc:docMk/>
            <pc:sldMk cId="1348694183" sldId="272"/>
            <ac:picMk id="8" creationId="{C8038191-DB7B-E749-3F12-F1C96064AD77}"/>
          </ac:picMkLst>
        </pc:picChg>
      </pc:sldChg>
      <pc:sldChg chg="addSp delSp modSp mod modNotesTx">
        <pc:chgData name="Michaelsen, Børje" userId="c36523e3-11ed-4011-9a41-1983019c0634" providerId="ADAL" clId="{120D5687-AD8B-4272-A70C-1A038C04FF7C}" dt="2024-08-05T13:02:31.725" v="256" actId="27918"/>
        <pc:sldMkLst>
          <pc:docMk/>
          <pc:sldMk cId="4110371661" sldId="275"/>
        </pc:sldMkLst>
        <pc:graphicFrameChg chg="del">
          <ac:chgData name="Michaelsen, Børje" userId="c36523e3-11ed-4011-9a41-1983019c0634" providerId="ADAL" clId="{120D5687-AD8B-4272-A70C-1A038C04FF7C}" dt="2024-08-05T12:26:45.710" v="214"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120D5687-AD8B-4272-A70C-1A038C04FF7C}" dt="2024-08-05T12:26:59.540" v="218"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120D5687-AD8B-4272-A70C-1A038C04FF7C}" dt="2024-08-05T11:17:48.050" v="212" actId="1076"/>
        <pc:sldMkLst>
          <pc:docMk/>
          <pc:sldMk cId="768537486" sldId="276"/>
        </pc:sldMkLst>
        <pc:spChg chg="mod">
          <ac:chgData name="Michaelsen, Børje" userId="c36523e3-11ed-4011-9a41-1983019c0634" providerId="ADAL" clId="{120D5687-AD8B-4272-A70C-1A038C04FF7C}" dt="2024-08-05T11:15:53.009" v="176" actId="1035"/>
          <ac:spMkLst>
            <pc:docMk/>
            <pc:sldMk cId="768537486" sldId="276"/>
            <ac:spMk id="3" creationId="{7E4CB53F-5721-F68D-099F-CA13F041DC21}"/>
          </ac:spMkLst>
        </pc:spChg>
        <pc:spChg chg="add del mod">
          <ac:chgData name="Michaelsen, Børje" userId="c36523e3-11ed-4011-9a41-1983019c0634" providerId="ADAL" clId="{120D5687-AD8B-4272-A70C-1A038C04FF7C}" dt="2024-08-05T11:14:58.300" v="152" actId="478"/>
          <ac:spMkLst>
            <pc:docMk/>
            <pc:sldMk cId="768537486" sldId="276"/>
            <ac:spMk id="6" creationId="{889F7272-6692-906B-50CC-B4F7C0C7F46F}"/>
          </ac:spMkLst>
        </pc:spChg>
        <pc:spChg chg="del">
          <ac:chgData name="Michaelsen, Børje" userId="c36523e3-11ed-4011-9a41-1983019c0634" providerId="ADAL" clId="{120D5687-AD8B-4272-A70C-1A038C04FF7C}" dt="2024-08-05T11:14:55.081" v="151" actId="478"/>
          <ac:spMkLst>
            <pc:docMk/>
            <pc:sldMk cId="768537486" sldId="276"/>
            <ac:spMk id="9" creationId="{00000000-0000-0000-0000-000000000000}"/>
          </ac:spMkLst>
        </pc:spChg>
        <pc:graphicFrameChg chg="add mod modGraphic">
          <ac:chgData name="Michaelsen, Børje" userId="c36523e3-11ed-4011-9a41-1983019c0634" providerId="ADAL" clId="{120D5687-AD8B-4272-A70C-1A038C04FF7C}" dt="2024-08-05T11:17:22.919" v="210" actId="20577"/>
          <ac:graphicFrameMkLst>
            <pc:docMk/>
            <pc:sldMk cId="768537486" sldId="276"/>
            <ac:graphicFrameMk id="7" creationId="{56F4A015-6B80-13EE-FBAD-6814452C53DB}"/>
          </ac:graphicFrameMkLst>
        </pc:graphicFrameChg>
        <pc:graphicFrameChg chg="del">
          <ac:chgData name="Michaelsen, Børje" userId="c36523e3-11ed-4011-9a41-1983019c0634" providerId="ADAL" clId="{120D5687-AD8B-4272-A70C-1A038C04FF7C}" dt="2024-08-05T11:15:27.062" v="153" actId="478"/>
          <ac:graphicFrameMkLst>
            <pc:docMk/>
            <pc:sldMk cId="768537486" sldId="276"/>
            <ac:graphicFrameMk id="8" creationId="{00000000-0000-0000-0000-000000000000}"/>
          </ac:graphicFrameMkLst>
        </pc:graphicFrameChg>
        <pc:picChg chg="del">
          <ac:chgData name="Michaelsen, Børje" userId="c36523e3-11ed-4011-9a41-1983019c0634" providerId="ADAL" clId="{120D5687-AD8B-4272-A70C-1A038C04FF7C}" dt="2024-08-05T11:14:51.884" v="150" actId="478"/>
          <ac:picMkLst>
            <pc:docMk/>
            <pc:sldMk cId="768537486" sldId="276"/>
            <ac:picMk id="5" creationId="{477924D2-B0EB-CFD4-F695-6FF5C79E6FE9}"/>
          </ac:picMkLst>
        </pc:picChg>
        <pc:picChg chg="add mod">
          <ac:chgData name="Michaelsen, Børje" userId="c36523e3-11ed-4011-9a41-1983019c0634" providerId="ADAL" clId="{120D5687-AD8B-4272-A70C-1A038C04FF7C}" dt="2024-08-05T11:16:24.286" v="193" actId="14100"/>
          <ac:picMkLst>
            <pc:docMk/>
            <pc:sldMk cId="768537486" sldId="276"/>
            <ac:picMk id="10" creationId="{1FCDA8FA-9229-8218-EEF2-9421AF5F3FB7}"/>
          </ac:picMkLst>
        </pc:picChg>
        <pc:picChg chg="add mod">
          <ac:chgData name="Michaelsen, Børje" userId="c36523e3-11ed-4011-9a41-1983019c0634" providerId="ADAL" clId="{120D5687-AD8B-4272-A70C-1A038C04FF7C}" dt="2024-08-05T11:17:48.050" v="212" actId="1076"/>
          <ac:picMkLst>
            <pc:docMk/>
            <pc:sldMk cId="768537486" sldId="276"/>
            <ac:picMk id="11" creationId="{81F04E1C-3D2F-F7FA-E11B-2C08CF941D76}"/>
          </ac:picMkLst>
        </pc:picChg>
      </pc:sldChg>
      <pc:sldChg chg="addSp delSp modSp mod">
        <pc:chgData name="Michaelsen, Børje" userId="c36523e3-11ed-4011-9a41-1983019c0634" providerId="ADAL" clId="{120D5687-AD8B-4272-A70C-1A038C04FF7C}" dt="2024-08-05T13:46:23.721" v="294" actId="27918"/>
        <pc:sldMkLst>
          <pc:docMk/>
          <pc:sldMk cId="2721633966" sldId="277"/>
        </pc:sldMkLst>
        <pc:graphicFrameChg chg="del">
          <ac:chgData name="Michaelsen, Børje" userId="c36523e3-11ed-4011-9a41-1983019c0634" providerId="ADAL" clId="{120D5687-AD8B-4272-A70C-1A038C04FF7C}" dt="2024-08-05T13:20:45.433" v="257"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120D5687-AD8B-4272-A70C-1A038C04FF7C}" dt="2024-08-05T13:21:00.837" v="260" actId="1076"/>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120D5687-AD8B-4272-A70C-1A038C04FF7C}" dt="2024-08-26T12:56:51.044" v="867" actId="13926"/>
        <pc:sldMkLst>
          <pc:docMk/>
          <pc:sldMk cId="662108869" sldId="279"/>
        </pc:sldMkLst>
        <pc:spChg chg="mod">
          <ac:chgData name="Michaelsen, Børje" userId="c36523e3-11ed-4011-9a41-1983019c0634" providerId="ADAL" clId="{120D5687-AD8B-4272-A70C-1A038C04FF7C}" dt="2024-08-08T07:31:05.480" v="654" actId="20577"/>
          <ac:spMkLst>
            <pc:docMk/>
            <pc:sldMk cId="662108869" sldId="279"/>
            <ac:spMk id="2" creationId="{00000000-0000-0000-0000-000000000000}"/>
          </ac:spMkLst>
        </pc:spChg>
        <pc:spChg chg="mod">
          <ac:chgData name="Michaelsen, Børje" userId="c36523e3-11ed-4011-9a41-1983019c0634" providerId="ADAL" clId="{120D5687-AD8B-4272-A70C-1A038C04FF7C}" dt="2024-08-26T12:56:51.044" v="867" actId="13926"/>
          <ac:spMkLst>
            <pc:docMk/>
            <pc:sldMk cId="662108869" sldId="279"/>
            <ac:spMk id="10" creationId="{00000000-0000-0000-0000-000000000000}"/>
          </ac:spMkLst>
        </pc:spChg>
        <pc:graphicFrameChg chg="del">
          <ac:chgData name="Michaelsen, Børje" userId="c36523e3-11ed-4011-9a41-1983019c0634" providerId="ADAL" clId="{120D5687-AD8B-4272-A70C-1A038C04FF7C}" dt="2024-08-08T07:31:33.110" v="656"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120D5687-AD8B-4272-A70C-1A038C04FF7C}" dt="2024-08-08T07:32:45.383" v="659"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120D5687-AD8B-4272-A70C-1A038C04FF7C}" dt="2024-08-08T07:31:43.354" v="658" actId="1076"/>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120D5687-AD8B-4272-A70C-1A038C04FF7C}" dt="2024-08-08T07:33:02.373" v="677" actId="1037"/>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120D5687-AD8B-4272-A70C-1A038C04FF7C}" dt="2024-08-26T11:34:49.904" v="799" actId="20577"/>
        <pc:sldMkLst>
          <pc:docMk/>
          <pc:sldMk cId="835482435" sldId="282"/>
        </pc:sldMkLst>
        <pc:spChg chg="mod">
          <ac:chgData name="Michaelsen, Børje" userId="c36523e3-11ed-4011-9a41-1983019c0634" providerId="ADAL" clId="{120D5687-AD8B-4272-A70C-1A038C04FF7C}" dt="2024-08-26T11:34:49.904" v="799" actId="20577"/>
          <ac:spMkLst>
            <pc:docMk/>
            <pc:sldMk cId="835482435" sldId="282"/>
            <ac:spMk id="3" creationId="{00000000-0000-0000-0000-000000000000}"/>
          </ac:spMkLst>
        </pc:spChg>
        <pc:graphicFrameChg chg="del">
          <ac:chgData name="Michaelsen, Børje" userId="c36523e3-11ed-4011-9a41-1983019c0634" providerId="ADAL" clId="{120D5687-AD8B-4272-A70C-1A038C04FF7C}" dt="2024-08-26T11:34:27.499" v="782"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120D5687-AD8B-4272-A70C-1A038C04FF7C}" dt="2024-08-26T11:34:34.191" v="785" actId="1076"/>
          <ac:graphicFrameMkLst>
            <pc:docMk/>
            <pc:sldMk cId="835482435" sldId="282"/>
            <ac:graphicFrameMk id="5" creationId="{78039546-200C-51F9-A3B8-CF9627E87368}"/>
          </ac:graphicFrameMkLst>
        </pc:graphicFrameChg>
      </pc:sldChg>
      <pc:sldChg chg="addSp delSp modSp mod modNotesTx">
        <pc:chgData name="Michaelsen, Børje" userId="c36523e3-11ed-4011-9a41-1983019c0634" providerId="ADAL" clId="{120D5687-AD8B-4272-A70C-1A038C04FF7C}" dt="2024-08-12T09:21:19.982" v="739" actId="20577"/>
        <pc:sldMkLst>
          <pc:docMk/>
          <pc:sldMk cId="3156779651" sldId="284"/>
        </pc:sldMkLst>
        <pc:spChg chg="mod">
          <ac:chgData name="Michaelsen, Børje" userId="c36523e3-11ed-4011-9a41-1983019c0634" providerId="ADAL" clId="{120D5687-AD8B-4272-A70C-1A038C04FF7C}" dt="2024-08-12T09:21:19.982" v="739" actId="20577"/>
          <ac:spMkLst>
            <pc:docMk/>
            <pc:sldMk cId="3156779651" sldId="284"/>
            <ac:spMk id="3" creationId="{00000000-0000-0000-0000-000000000000}"/>
          </ac:spMkLst>
        </pc:spChg>
        <pc:spChg chg="mod">
          <ac:chgData name="Michaelsen, Børje" userId="c36523e3-11ed-4011-9a41-1983019c0634" providerId="ADAL" clId="{120D5687-AD8B-4272-A70C-1A038C04FF7C}" dt="2024-08-12T09:15:01.817" v="714" actId="20577"/>
          <ac:spMkLst>
            <pc:docMk/>
            <pc:sldMk cId="3156779651" sldId="284"/>
            <ac:spMk id="29" creationId="{00000000-0000-0000-0000-000000000000}"/>
          </ac:spMkLst>
        </pc:spChg>
        <pc:picChg chg="del">
          <ac:chgData name="Michaelsen, Børje" userId="c36523e3-11ed-4011-9a41-1983019c0634" providerId="ADAL" clId="{120D5687-AD8B-4272-A70C-1A038C04FF7C}" dt="2024-08-12T09:19:20.019" v="715" actId="478"/>
          <ac:picMkLst>
            <pc:docMk/>
            <pc:sldMk cId="3156779651" sldId="284"/>
            <ac:picMk id="41" creationId="{CC13715A-9D1A-4490-8CDE-3A5AE80B68C5}"/>
          </ac:picMkLst>
        </pc:picChg>
        <pc:picChg chg="add mod ord">
          <ac:chgData name="Michaelsen, Børje" userId="c36523e3-11ed-4011-9a41-1983019c0634" providerId="ADAL" clId="{120D5687-AD8B-4272-A70C-1A038C04FF7C}" dt="2024-08-12T09:20:02.503" v="724" actId="962"/>
          <ac:picMkLst>
            <pc:docMk/>
            <pc:sldMk cId="3156779651" sldId="284"/>
            <ac:picMk id="42" creationId="{1209CF0C-C762-69D0-ADDD-E7449A15A560}"/>
          </ac:picMkLst>
        </pc:picChg>
        <pc:picChg chg="mod">
          <ac:chgData name="Michaelsen, Børje" userId="c36523e3-11ed-4011-9a41-1983019c0634" providerId="ADAL" clId="{120D5687-AD8B-4272-A70C-1A038C04FF7C}" dt="2024-08-12T09:20:10.247" v="725" actId="167"/>
          <ac:picMkLst>
            <pc:docMk/>
            <pc:sldMk cId="3156779651" sldId="284"/>
            <ac:picMk id="2050" creationId="{00000000-0000-0000-0000-000000000000}"/>
          </ac:picMkLst>
        </pc:picChg>
      </pc:sldChg>
      <pc:sldChg chg="addSp delSp modSp mod modNotesTx">
        <pc:chgData name="Michaelsen, Børje" userId="c36523e3-11ed-4011-9a41-1983019c0634" providerId="ADAL" clId="{120D5687-AD8B-4272-A70C-1A038C04FF7C}" dt="2024-08-13T07:34:35.980" v="781" actId="6549"/>
        <pc:sldMkLst>
          <pc:docMk/>
          <pc:sldMk cId="4268334138" sldId="285"/>
        </pc:sldMkLst>
        <pc:spChg chg="mod">
          <ac:chgData name="Michaelsen, Børje" userId="c36523e3-11ed-4011-9a41-1983019c0634" providerId="ADAL" clId="{120D5687-AD8B-4272-A70C-1A038C04FF7C}" dt="2024-08-13T07:34:35.980" v="781" actId="6549"/>
          <ac:spMkLst>
            <pc:docMk/>
            <pc:sldMk cId="4268334138" sldId="285"/>
            <ac:spMk id="3" creationId="{0E208661-40B4-4483-9A05-FE473BED7235}"/>
          </ac:spMkLst>
        </pc:spChg>
        <pc:graphicFrameChg chg="del">
          <ac:chgData name="Michaelsen, Børje" userId="c36523e3-11ed-4011-9a41-1983019c0634" providerId="ADAL" clId="{120D5687-AD8B-4272-A70C-1A038C04FF7C}" dt="2024-08-13T07:33:48.867" v="742"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120D5687-AD8B-4272-A70C-1A038C04FF7C}" dt="2024-08-13T07:33:57.592" v="746" actId="14100"/>
          <ac:graphicFrameMkLst>
            <pc:docMk/>
            <pc:sldMk cId="4268334138" sldId="285"/>
            <ac:graphicFrameMk id="7" creationId="{20743EAD-2704-49A5-4317-249C8750BC66}"/>
          </ac:graphicFrameMkLst>
        </pc:graphicFrameChg>
      </pc:sldChg>
      <pc:sldChg chg="addSp delSp modSp mod">
        <pc:chgData name="Michaelsen, Børje" userId="c36523e3-11ed-4011-9a41-1983019c0634" providerId="ADAL" clId="{120D5687-AD8B-4272-A70C-1A038C04FF7C}" dt="2024-08-06T06:50:21.461" v="312" actId="14100"/>
        <pc:sldMkLst>
          <pc:docMk/>
          <pc:sldMk cId="1736272724" sldId="289"/>
        </pc:sldMkLst>
        <pc:graphicFrameChg chg="del">
          <ac:chgData name="Michaelsen, Børje" userId="c36523e3-11ed-4011-9a41-1983019c0634" providerId="ADAL" clId="{120D5687-AD8B-4272-A70C-1A038C04FF7C}" dt="2024-08-06T06:49:30.449" v="301" actId="478"/>
          <ac:graphicFrameMkLst>
            <pc:docMk/>
            <pc:sldMk cId="1736272724" sldId="289"/>
            <ac:graphicFrameMk id="4" creationId="{00000000-0008-0000-0000-000002000000}"/>
          </ac:graphicFrameMkLst>
        </pc:graphicFrameChg>
        <pc:graphicFrameChg chg="del">
          <ac:chgData name="Michaelsen, Børje" userId="c36523e3-11ed-4011-9a41-1983019c0634" providerId="ADAL" clId="{120D5687-AD8B-4272-A70C-1A038C04FF7C}" dt="2024-08-06T06:48:42.102" v="295" actId="478"/>
          <ac:graphicFrameMkLst>
            <pc:docMk/>
            <pc:sldMk cId="1736272724" sldId="289"/>
            <ac:graphicFrameMk id="5" creationId="{00000000-0008-0000-0200-000002000000}"/>
          </ac:graphicFrameMkLst>
        </pc:graphicFrameChg>
        <pc:graphicFrameChg chg="del">
          <ac:chgData name="Michaelsen, Børje" userId="c36523e3-11ed-4011-9a41-1983019c0634" providerId="ADAL" clId="{120D5687-AD8B-4272-A70C-1A038C04FF7C}" dt="2024-08-06T06:50:06.977" v="307"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120D5687-AD8B-4272-A70C-1A038C04FF7C}" dt="2024-08-06T06:49:01.649" v="300" actId="14100"/>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120D5687-AD8B-4272-A70C-1A038C04FF7C}" dt="2024-08-06T06:49:49.067" v="306" actId="14100"/>
          <ac:graphicFrameMkLst>
            <pc:docMk/>
            <pc:sldMk cId="1736272724" sldId="289"/>
            <ac:graphicFrameMk id="9" creationId="{00000000-0008-0000-0000-000002000000}"/>
          </ac:graphicFrameMkLst>
        </pc:graphicFrameChg>
        <pc:graphicFrameChg chg="add mod">
          <ac:chgData name="Michaelsen, Børje" userId="c36523e3-11ed-4011-9a41-1983019c0634" providerId="ADAL" clId="{120D5687-AD8B-4272-A70C-1A038C04FF7C}" dt="2024-08-06T06:50:21.461" v="312" actId="14100"/>
          <ac:graphicFrameMkLst>
            <pc:docMk/>
            <pc:sldMk cId="1736272724" sldId="289"/>
            <ac:graphicFrameMk id="10" creationId="{028D2252-F4B0-498F-AA99-FB6CF217ADD0}"/>
          </ac:graphicFrameMkLst>
        </pc:graphicFrameChg>
      </pc:sldChg>
      <pc:sldChg chg="addSp delSp modSp mod">
        <pc:chgData name="Michaelsen, Børje" userId="c36523e3-11ed-4011-9a41-1983019c0634" providerId="ADAL" clId="{120D5687-AD8B-4272-A70C-1A038C04FF7C}" dt="2024-08-07T09:56:49.576" v="489" actId="27918"/>
        <pc:sldMkLst>
          <pc:docMk/>
          <pc:sldMk cId="3663715429" sldId="292"/>
        </pc:sldMkLst>
        <pc:spChg chg="mod">
          <ac:chgData name="Michaelsen, Børje" userId="c36523e3-11ed-4011-9a41-1983019c0634" providerId="ADAL" clId="{120D5687-AD8B-4272-A70C-1A038C04FF7C}" dt="2024-08-06T12:43:16.190" v="407" actId="1036"/>
          <ac:spMkLst>
            <pc:docMk/>
            <pc:sldMk cId="3663715429" sldId="292"/>
            <ac:spMk id="5" creationId="{880070C5-FF4E-789B-81ED-9DE4648C451B}"/>
          </ac:spMkLst>
        </pc:spChg>
        <pc:spChg chg="mod">
          <ac:chgData name="Michaelsen, Børje" userId="c36523e3-11ed-4011-9a41-1983019c0634" providerId="ADAL" clId="{120D5687-AD8B-4272-A70C-1A038C04FF7C}" dt="2024-08-06T13:11:31.593" v="444" actId="6549"/>
          <ac:spMkLst>
            <pc:docMk/>
            <pc:sldMk cId="3663715429" sldId="292"/>
            <ac:spMk id="7" creationId="{00000000-0000-0000-0000-000000000000}"/>
          </ac:spMkLst>
        </pc:spChg>
        <pc:spChg chg="mod">
          <ac:chgData name="Michaelsen, Børje" userId="c36523e3-11ed-4011-9a41-1983019c0634" providerId="ADAL" clId="{120D5687-AD8B-4272-A70C-1A038C04FF7C}" dt="2024-08-06T12:43:38.751" v="415" actId="20577"/>
          <ac:spMkLst>
            <pc:docMk/>
            <pc:sldMk cId="3663715429" sldId="292"/>
            <ac:spMk id="18" creationId="{00000000-0000-0000-0000-000000000000}"/>
          </ac:spMkLst>
        </pc:spChg>
        <pc:graphicFrameChg chg="del">
          <ac:chgData name="Michaelsen, Børje" userId="c36523e3-11ed-4011-9a41-1983019c0634" providerId="ADAL" clId="{120D5687-AD8B-4272-A70C-1A038C04FF7C}" dt="2024-08-06T12:41:09.027" v="366" actId="478"/>
          <ac:graphicFrameMkLst>
            <pc:docMk/>
            <pc:sldMk cId="3663715429" sldId="292"/>
            <ac:graphicFrameMk id="3" creationId="{00000000-0008-0000-0100-000002000000}"/>
          </ac:graphicFrameMkLst>
        </pc:graphicFrameChg>
        <pc:graphicFrameChg chg="del">
          <ac:chgData name="Michaelsen, Børje" userId="c36523e3-11ed-4011-9a41-1983019c0634" providerId="ADAL" clId="{120D5687-AD8B-4272-A70C-1A038C04FF7C}" dt="2024-08-06T12:43:55.045" v="416" actId="478"/>
          <ac:graphicFrameMkLst>
            <pc:docMk/>
            <pc:sldMk cId="3663715429" sldId="292"/>
            <ac:graphicFrameMk id="4" creationId="{00000000-0008-0000-0300-000003000000}"/>
          </ac:graphicFrameMkLst>
        </pc:graphicFrameChg>
        <pc:graphicFrameChg chg="add mod">
          <ac:chgData name="Michaelsen, Børje" userId="c36523e3-11ed-4011-9a41-1983019c0634" providerId="ADAL" clId="{120D5687-AD8B-4272-A70C-1A038C04FF7C}" dt="2024-08-06T13:11:36.127" v="450" actId="1036"/>
          <ac:graphicFrameMkLst>
            <pc:docMk/>
            <pc:sldMk cId="3663715429" sldId="292"/>
            <ac:graphicFrameMk id="8" creationId="{00000000-0008-0000-0100-000002000000}"/>
          </ac:graphicFrameMkLst>
        </pc:graphicFrameChg>
        <pc:graphicFrameChg chg="add mod">
          <ac:chgData name="Michaelsen, Børje" userId="c36523e3-11ed-4011-9a41-1983019c0634" providerId="ADAL" clId="{120D5687-AD8B-4272-A70C-1A038C04FF7C}" dt="2024-08-06T13:11:39.449" v="451" actId="1076"/>
          <ac:graphicFrameMkLst>
            <pc:docMk/>
            <pc:sldMk cId="3663715429" sldId="292"/>
            <ac:graphicFrameMk id="9" creationId="{00000000-0008-0000-0300-000003000000}"/>
          </ac:graphicFrameMkLst>
        </pc:graphicFrameChg>
      </pc:sldChg>
      <pc:sldChg chg="addSp delSp modSp mod modNotesTx">
        <pc:chgData name="Michaelsen, Børje" userId="c36523e3-11ed-4011-9a41-1983019c0634" providerId="ADAL" clId="{120D5687-AD8B-4272-A70C-1A038C04FF7C}" dt="2024-08-05T08:10:06.557" v="64" actId="20577"/>
        <pc:sldMkLst>
          <pc:docMk/>
          <pc:sldMk cId="559240798" sldId="1093"/>
        </pc:sldMkLst>
        <pc:picChg chg="add mod">
          <ac:chgData name="Michaelsen, Børje" userId="c36523e3-11ed-4011-9a41-1983019c0634" providerId="ADAL" clId="{120D5687-AD8B-4272-A70C-1A038C04FF7C}" dt="2024-08-05T08:09:52.687" v="37" actId="1038"/>
          <ac:picMkLst>
            <pc:docMk/>
            <pc:sldMk cId="559240798" sldId="1093"/>
            <ac:picMk id="2" creationId="{F65D2562-10D8-79D7-85C4-8CEFF9596AD8}"/>
          </ac:picMkLst>
        </pc:picChg>
        <pc:picChg chg="add mod">
          <ac:chgData name="Michaelsen, Børje" userId="c36523e3-11ed-4011-9a41-1983019c0634" providerId="ADAL" clId="{120D5687-AD8B-4272-A70C-1A038C04FF7C}" dt="2024-08-05T08:09:41.823" v="9" actId="1037"/>
          <ac:picMkLst>
            <pc:docMk/>
            <pc:sldMk cId="559240798" sldId="1093"/>
            <ac:picMk id="3" creationId="{72D1F57A-A92F-722D-9E95-0A60AFBD7865}"/>
          </ac:picMkLst>
        </pc:picChg>
        <pc:picChg chg="add mod">
          <ac:chgData name="Michaelsen, Børje" userId="c36523e3-11ed-4011-9a41-1983019c0634" providerId="ADAL" clId="{120D5687-AD8B-4272-A70C-1A038C04FF7C}" dt="2024-08-05T08:09:59.503" v="62" actId="1037"/>
          <ac:picMkLst>
            <pc:docMk/>
            <pc:sldMk cId="559240798" sldId="1093"/>
            <ac:picMk id="4" creationId="{4BC113E7-CA6C-8FF4-24B3-ACB92DE2D636}"/>
          </ac:picMkLst>
        </pc:picChg>
        <pc:picChg chg="del">
          <ac:chgData name="Michaelsen, Børje" userId="c36523e3-11ed-4011-9a41-1983019c0634" providerId="ADAL" clId="{120D5687-AD8B-4272-A70C-1A038C04FF7C}" dt="2024-08-05T08:09:27.672" v="0" actId="478"/>
          <ac:picMkLst>
            <pc:docMk/>
            <pc:sldMk cId="559240798" sldId="1093"/>
            <ac:picMk id="15" creationId="{A6BFC4A7-909E-6E8E-3860-250A6E8C72ED}"/>
          </ac:picMkLst>
        </pc:picChg>
        <pc:picChg chg="del">
          <ac:chgData name="Michaelsen, Børje" userId="c36523e3-11ed-4011-9a41-1983019c0634" providerId="ADAL" clId="{120D5687-AD8B-4272-A70C-1A038C04FF7C}" dt="2024-08-05T08:09:27.672" v="0" actId="478"/>
          <ac:picMkLst>
            <pc:docMk/>
            <pc:sldMk cId="559240798" sldId="1093"/>
            <ac:picMk id="16" creationId="{834FE4BA-C708-E7F8-3770-05E65E70B80E}"/>
          </ac:picMkLst>
        </pc:picChg>
        <pc:picChg chg="del">
          <ac:chgData name="Michaelsen, Børje" userId="c36523e3-11ed-4011-9a41-1983019c0634" providerId="ADAL" clId="{120D5687-AD8B-4272-A70C-1A038C04FF7C}" dt="2024-08-05T08:09:27.672" v="0" actId="478"/>
          <ac:picMkLst>
            <pc:docMk/>
            <pc:sldMk cId="559240798" sldId="1093"/>
            <ac:picMk id="17" creationId="{C6B1CA5E-F562-0946-E30A-94962ECCEB29}"/>
          </ac:picMkLst>
        </pc:picChg>
      </pc:sldChg>
    </pc:docChg>
  </pc:docChgLst>
  <pc:docChgLst>
    <pc:chgData name="Michaelsen, Børje" userId="c36523e3-11ed-4011-9a41-1983019c0634" providerId="ADAL" clId="{716D7CA6-A3DA-4FDD-9DE3-B446305D63E5}"/>
    <pc:docChg chg="custSel modSld">
      <pc:chgData name="Michaelsen, Børje" userId="c36523e3-11ed-4011-9a41-1983019c0634" providerId="ADAL" clId="{716D7CA6-A3DA-4FDD-9DE3-B446305D63E5}" dt="2024-09-20T08:45:53.975" v="40" actId="20577"/>
      <pc:docMkLst>
        <pc:docMk/>
      </pc:docMkLst>
      <pc:sldChg chg="modSp mod">
        <pc:chgData name="Michaelsen, Børje" userId="c36523e3-11ed-4011-9a41-1983019c0634" providerId="ADAL" clId="{716D7CA6-A3DA-4FDD-9DE3-B446305D63E5}" dt="2024-09-20T08:44:54.694" v="16" actId="13238"/>
        <pc:sldMkLst>
          <pc:docMk/>
          <pc:sldMk cId="3237931907" sldId="263"/>
        </pc:sldMkLst>
        <pc:graphicFrameChg chg="modGraphic">
          <ac:chgData name="Michaelsen, Børje" userId="c36523e3-11ed-4011-9a41-1983019c0634" providerId="ADAL" clId="{716D7CA6-A3DA-4FDD-9DE3-B446305D63E5}" dt="2024-09-20T08:44:54.694" v="16" actId="13238"/>
          <ac:graphicFrameMkLst>
            <pc:docMk/>
            <pc:sldMk cId="3237931907" sldId="263"/>
            <ac:graphicFrameMk id="8" creationId="{19C2B1CC-D69E-38E2-B6EE-92BDA4CA6682}"/>
          </ac:graphicFrameMkLst>
        </pc:graphicFrameChg>
      </pc:sldChg>
      <pc:sldChg chg="modSp">
        <pc:chgData name="Michaelsen, Børje" userId="c36523e3-11ed-4011-9a41-1983019c0634" providerId="ADAL" clId="{716D7CA6-A3DA-4FDD-9DE3-B446305D63E5}" dt="2024-09-20T08:45:07.370" v="18" actId="962"/>
        <pc:sldMkLst>
          <pc:docMk/>
          <pc:sldMk cId="1763573476" sldId="269"/>
        </pc:sldMkLst>
        <pc:graphicFrameChg chg="mod">
          <ac:chgData name="Michaelsen, Børje" userId="c36523e3-11ed-4011-9a41-1983019c0634" providerId="ADAL" clId="{716D7CA6-A3DA-4FDD-9DE3-B446305D63E5}" dt="2024-09-20T08:45:07.370" v="18" actId="962"/>
          <ac:graphicFrameMkLst>
            <pc:docMk/>
            <pc:sldMk cId="1763573476" sldId="269"/>
            <ac:graphicFrameMk id="5" creationId="{C42B3858-0AA0-2354-2DD0-92C6E96A6D73}"/>
          </ac:graphicFrameMkLst>
        </pc:graphicFrameChg>
      </pc:sldChg>
      <pc:sldChg chg="addSp delSp modSp mod">
        <pc:chgData name="Michaelsen, Børje" userId="c36523e3-11ed-4011-9a41-1983019c0634" providerId="ADAL" clId="{716D7CA6-A3DA-4FDD-9DE3-B446305D63E5}" dt="2024-09-12T12:59:10.183" v="15" actId="962"/>
        <pc:sldMkLst>
          <pc:docMk/>
          <pc:sldMk cId="340623003" sldId="274"/>
        </pc:sldMkLst>
        <pc:spChg chg="mod">
          <ac:chgData name="Michaelsen, Børje" userId="c36523e3-11ed-4011-9a41-1983019c0634" providerId="ADAL" clId="{716D7CA6-A3DA-4FDD-9DE3-B446305D63E5}" dt="2024-09-12T12:58:26.211" v="13" actId="20577"/>
          <ac:spMkLst>
            <pc:docMk/>
            <pc:sldMk cId="340623003" sldId="274"/>
            <ac:spMk id="8" creationId="{00000000-0000-0000-0000-000000000000}"/>
          </ac:spMkLst>
        </pc:spChg>
        <pc:picChg chg="del">
          <ac:chgData name="Michaelsen, Børje" userId="c36523e3-11ed-4011-9a41-1983019c0634" providerId="ADAL" clId="{716D7CA6-A3DA-4FDD-9DE3-B446305D63E5}" dt="2024-09-12T12:57:57.687" v="0" actId="478"/>
          <ac:picMkLst>
            <pc:docMk/>
            <pc:sldMk cId="340623003" sldId="274"/>
            <ac:picMk id="3" creationId="{00000000-0000-0000-0000-000000000000}"/>
          </ac:picMkLst>
        </pc:picChg>
        <pc:picChg chg="add mod">
          <ac:chgData name="Michaelsen, Børje" userId="c36523e3-11ed-4011-9a41-1983019c0634" providerId="ADAL" clId="{716D7CA6-A3DA-4FDD-9DE3-B446305D63E5}" dt="2024-09-12T12:59:10.183" v="15" actId="962"/>
          <ac:picMkLst>
            <pc:docMk/>
            <pc:sldMk cId="340623003" sldId="274"/>
            <ac:picMk id="9" creationId="{3A774C98-8476-A465-8ADA-D48742EEDE17}"/>
          </ac:picMkLst>
        </pc:picChg>
      </pc:sldChg>
      <pc:sldChg chg="modSp mod">
        <pc:chgData name="Michaelsen, Børje" userId="c36523e3-11ed-4011-9a41-1983019c0634" providerId="ADAL" clId="{716D7CA6-A3DA-4FDD-9DE3-B446305D63E5}" dt="2024-09-20T08:45:44.812" v="24" actId="962"/>
        <pc:sldMkLst>
          <pc:docMk/>
          <pc:sldMk cId="559240798" sldId="1093"/>
        </pc:sldMkLst>
        <pc:picChg chg="mod">
          <ac:chgData name="Michaelsen, Børje" userId="c36523e3-11ed-4011-9a41-1983019c0634" providerId="ADAL" clId="{716D7CA6-A3DA-4FDD-9DE3-B446305D63E5}" dt="2024-09-20T08:45:29.518" v="20" actId="962"/>
          <ac:picMkLst>
            <pc:docMk/>
            <pc:sldMk cId="559240798" sldId="1093"/>
            <ac:picMk id="2" creationId="{F65D2562-10D8-79D7-85C4-8CEFF9596AD8}"/>
          </ac:picMkLst>
        </pc:picChg>
        <pc:picChg chg="mod">
          <ac:chgData name="Michaelsen, Børje" userId="c36523e3-11ed-4011-9a41-1983019c0634" providerId="ADAL" clId="{716D7CA6-A3DA-4FDD-9DE3-B446305D63E5}" dt="2024-09-20T08:45:44.812" v="24" actId="962"/>
          <ac:picMkLst>
            <pc:docMk/>
            <pc:sldMk cId="559240798" sldId="1093"/>
            <ac:picMk id="3" creationId="{72D1F57A-A92F-722D-9E95-0A60AFBD7865}"/>
          </ac:picMkLst>
        </pc:picChg>
        <pc:picChg chg="mod">
          <ac:chgData name="Michaelsen, Børje" userId="c36523e3-11ed-4011-9a41-1983019c0634" providerId="ADAL" clId="{716D7CA6-A3DA-4FDD-9DE3-B446305D63E5}" dt="2024-09-20T08:45:37.354" v="22" actId="962"/>
          <ac:picMkLst>
            <pc:docMk/>
            <pc:sldMk cId="559240798" sldId="1093"/>
            <ac:picMk id="4" creationId="{4BC113E7-CA6C-8FF4-24B3-ACB92DE2D636}"/>
          </ac:picMkLst>
        </pc:picChg>
      </pc:sldChg>
      <pc:sldChg chg="modNotesTx">
        <pc:chgData name="Michaelsen, Børje" userId="c36523e3-11ed-4011-9a41-1983019c0634" providerId="ADAL" clId="{716D7CA6-A3DA-4FDD-9DE3-B446305D63E5}" dt="2024-09-20T08:45:53.975" v="40" actId="20577"/>
        <pc:sldMkLst>
          <pc:docMk/>
          <pc:sldMk cId="2611775227" sldId="1095"/>
        </pc:sldMkLst>
      </pc:sldChg>
    </pc:docChg>
  </pc:docChgLst>
  <pc:docChgLst>
    <pc:chgData name="Michaelsen, Børje" userId="c36523e3-11ed-4011-9a41-1983019c0634" providerId="ADAL" clId="{095A5938-E3E0-4926-845E-301A48DD14CF}"/>
    <pc:docChg chg="undo redo custSel addSld delSld modSld">
      <pc:chgData name="Michaelsen, Børje" userId="c36523e3-11ed-4011-9a41-1983019c0634" providerId="ADAL" clId="{095A5938-E3E0-4926-845E-301A48DD14CF}" dt="2023-10-10T08:25:59.977" v="1376" actId="13244"/>
      <pc:docMkLst>
        <pc:docMk/>
      </pc:docMkLst>
      <pc:sldChg chg="modSp mod">
        <pc:chgData name="Michaelsen, Børje" userId="c36523e3-11ed-4011-9a41-1983019c0634" providerId="ADAL" clId="{095A5938-E3E0-4926-845E-301A48DD14CF}" dt="2023-09-15T09:05:43.070" v="609" actId="962"/>
        <pc:sldMkLst>
          <pc:docMk/>
          <pc:sldMk cId="1115595437" sldId="256"/>
        </pc:sldMkLst>
        <pc:picChg chg="mod">
          <ac:chgData name="Michaelsen, Børje" userId="c36523e3-11ed-4011-9a41-1983019c0634" providerId="ADAL" clId="{095A5938-E3E0-4926-845E-301A48DD14CF}" dt="2023-09-15T09:05:43.070" v="609" actId="962"/>
          <ac:picMkLst>
            <pc:docMk/>
            <pc:sldMk cId="1115595437" sldId="256"/>
            <ac:picMk id="4" creationId="{00000000-0000-0000-0000-000000000000}"/>
          </ac:picMkLst>
        </pc:picChg>
      </pc:sldChg>
      <pc:sldChg chg="modSp mod modNotesTx">
        <pc:chgData name="Michaelsen, Børje" userId="c36523e3-11ed-4011-9a41-1983019c0634" providerId="ADAL" clId="{095A5938-E3E0-4926-845E-301A48DD14CF}" dt="2023-09-15T09:22:46.848" v="829"/>
        <pc:sldMkLst>
          <pc:docMk/>
          <pc:sldMk cId="1380386693" sldId="260"/>
        </pc:sldMkLst>
        <pc:graphicFrameChg chg="mod modGraphic">
          <ac:chgData name="Michaelsen, Børje" userId="c36523e3-11ed-4011-9a41-1983019c0634" providerId="ADAL" clId="{095A5938-E3E0-4926-845E-301A48DD14CF}" dt="2023-09-15T09:06:15.621" v="615"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095A5938-E3E0-4926-845E-301A48DD14CF}" dt="2023-09-15T09:06:49.179" v="624" actId="12385"/>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095A5938-E3E0-4926-845E-301A48DD14CF}" dt="2023-09-15T09:22:46.848" v="829"/>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095A5938-E3E0-4926-845E-301A48DD14CF}" dt="2023-09-15T09:22:44.532" v="828"/>
          <ac:graphicFrameMkLst>
            <pc:docMk/>
            <pc:sldMk cId="1380386693" sldId="260"/>
            <ac:graphicFrameMk id="10" creationId="{00000000-0000-0000-0000-000000000000}"/>
          </ac:graphicFrameMkLst>
        </pc:graphicFrameChg>
        <pc:picChg chg="mod ord">
          <ac:chgData name="Michaelsen, Børje" userId="c36523e3-11ed-4011-9a41-1983019c0634" providerId="ADAL" clId="{095A5938-E3E0-4926-845E-301A48DD14CF}" dt="2023-09-15T09:22:35.669" v="826"/>
          <ac:picMkLst>
            <pc:docMk/>
            <pc:sldMk cId="1380386693" sldId="260"/>
            <ac:picMk id="4" creationId="{00000000-0000-0000-0000-000000000000}"/>
          </ac:picMkLst>
        </pc:picChg>
        <pc:picChg chg="mod">
          <ac:chgData name="Michaelsen, Børje" userId="c36523e3-11ed-4011-9a41-1983019c0634" providerId="ADAL" clId="{095A5938-E3E0-4926-845E-301A48DD14CF}" dt="2023-09-15T09:06:05.726" v="613" actId="962"/>
          <ac:picMkLst>
            <pc:docMk/>
            <pc:sldMk cId="1380386693" sldId="260"/>
            <ac:picMk id="6" creationId="{00000000-0000-0000-0000-000000000000}"/>
          </ac:picMkLst>
        </pc:picChg>
      </pc:sldChg>
      <pc:sldChg chg="modSp mod">
        <pc:chgData name="Michaelsen, Børje" userId="c36523e3-11ed-4011-9a41-1983019c0634" providerId="ADAL" clId="{095A5938-E3E0-4926-845E-301A48DD14CF}" dt="2023-09-15T09:11:34.195" v="729" actId="962"/>
        <pc:sldMkLst>
          <pc:docMk/>
          <pc:sldMk cId="1502201355" sldId="262"/>
        </pc:sldMkLst>
        <pc:picChg chg="mod">
          <ac:chgData name="Michaelsen, Børje" userId="c36523e3-11ed-4011-9a41-1983019c0634" providerId="ADAL" clId="{095A5938-E3E0-4926-845E-301A48DD14CF}" dt="2023-09-15T09:11:19.786" v="722" actId="962"/>
          <ac:picMkLst>
            <pc:docMk/>
            <pc:sldMk cId="1502201355" sldId="262"/>
            <ac:picMk id="4" creationId="{00000000-0000-0000-0000-000000000000}"/>
          </ac:picMkLst>
        </pc:picChg>
        <pc:picChg chg="mod">
          <ac:chgData name="Michaelsen, Børje" userId="c36523e3-11ed-4011-9a41-1983019c0634" providerId="ADAL" clId="{095A5938-E3E0-4926-845E-301A48DD14CF}" dt="2023-09-15T09:11:21.670" v="723" actId="962"/>
          <ac:picMkLst>
            <pc:docMk/>
            <pc:sldMk cId="1502201355" sldId="262"/>
            <ac:picMk id="5" creationId="{00000000-0000-0000-0000-000000000000}"/>
          </ac:picMkLst>
        </pc:picChg>
        <pc:picChg chg="mod">
          <ac:chgData name="Michaelsen, Børje" userId="c36523e3-11ed-4011-9a41-1983019c0634" providerId="ADAL" clId="{095A5938-E3E0-4926-845E-301A48DD14CF}" dt="2023-09-15T09:11:23.663" v="724" actId="962"/>
          <ac:picMkLst>
            <pc:docMk/>
            <pc:sldMk cId="1502201355" sldId="262"/>
            <ac:picMk id="6" creationId="{00000000-0000-0000-0000-000000000000}"/>
          </ac:picMkLst>
        </pc:picChg>
        <pc:picChg chg="mod">
          <ac:chgData name="Michaelsen, Børje" userId="c36523e3-11ed-4011-9a41-1983019c0634" providerId="ADAL" clId="{095A5938-E3E0-4926-845E-301A48DD14CF}" dt="2023-09-15T09:11:25.796" v="725" actId="962"/>
          <ac:picMkLst>
            <pc:docMk/>
            <pc:sldMk cId="1502201355" sldId="262"/>
            <ac:picMk id="7" creationId="{00000000-0000-0000-0000-000000000000}"/>
          </ac:picMkLst>
        </pc:picChg>
        <pc:picChg chg="mod">
          <ac:chgData name="Michaelsen, Børje" userId="c36523e3-11ed-4011-9a41-1983019c0634" providerId="ADAL" clId="{095A5938-E3E0-4926-845E-301A48DD14CF}" dt="2023-09-15T09:11:27.966" v="726" actId="962"/>
          <ac:picMkLst>
            <pc:docMk/>
            <pc:sldMk cId="1502201355" sldId="262"/>
            <ac:picMk id="8" creationId="{00000000-0000-0000-0000-000000000000}"/>
          </ac:picMkLst>
        </pc:picChg>
        <pc:picChg chg="mod">
          <ac:chgData name="Michaelsen, Børje" userId="c36523e3-11ed-4011-9a41-1983019c0634" providerId="ADAL" clId="{095A5938-E3E0-4926-845E-301A48DD14CF}" dt="2023-09-15T09:11:30.216" v="727" actId="962"/>
          <ac:picMkLst>
            <pc:docMk/>
            <pc:sldMk cId="1502201355" sldId="262"/>
            <ac:picMk id="9" creationId="{00000000-0000-0000-0000-000000000000}"/>
          </ac:picMkLst>
        </pc:picChg>
        <pc:picChg chg="mod">
          <ac:chgData name="Michaelsen, Børje" userId="c36523e3-11ed-4011-9a41-1983019c0634" providerId="ADAL" clId="{095A5938-E3E0-4926-845E-301A48DD14CF}" dt="2023-09-15T09:11:32.333" v="728" actId="962"/>
          <ac:picMkLst>
            <pc:docMk/>
            <pc:sldMk cId="1502201355" sldId="262"/>
            <ac:picMk id="10" creationId="{00000000-0000-0000-0000-000000000000}"/>
          </ac:picMkLst>
        </pc:picChg>
        <pc:picChg chg="mod">
          <ac:chgData name="Michaelsen, Børje" userId="c36523e3-11ed-4011-9a41-1983019c0634" providerId="ADAL" clId="{095A5938-E3E0-4926-845E-301A48DD14CF}" dt="2023-09-15T09:11:34.195" v="729" actId="962"/>
          <ac:picMkLst>
            <pc:docMk/>
            <pc:sldMk cId="1502201355" sldId="262"/>
            <ac:picMk id="11" creationId="{00000000-0000-0000-0000-000000000000}"/>
          </ac:picMkLst>
        </pc:picChg>
      </pc:sldChg>
      <pc:sldChg chg="addSp delSp modSp mod">
        <pc:chgData name="Michaelsen, Børje" userId="c36523e3-11ed-4011-9a41-1983019c0634" providerId="ADAL" clId="{095A5938-E3E0-4926-845E-301A48DD14CF}" dt="2023-09-15T09:24:34.349" v="886"/>
        <pc:sldMkLst>
          <pc:docMk/>
          <pc:sldMk cId="3237931907" sldId="263"/>
        </pc:sldMkLst>
        <pc:spChg chg="mod">
          <ac:chgData name="Michaelsen, Børje" userId="c36523e3-11ed-4011-9a41-1983019c0634" providerId="ADAL" clId="{095A5938-E3E0-4926-845E-301A48DD14CF}" dt="2023-09-13T09:55:19.139" v="591" actId="1035"/>
          <ac:spMkLst>
            <pc:docMk/>
            <pc:sldMk cId="3237931907" sldId="263"/>
            <ac:spMk id="10" creationId="{00000000-0000-0000-0000-000000000000}"/>
          </ac:spMkLst>
        </pc:spChg>
        <pc:graphicFrameChg chg="add mod">
          <ac:chgData name="Michaelsen, Børje" userId="c36523e3-11ed-4011-9a41-1983019c0634" providerId="ADAL" clId="{095A5938-E3E0-4926-845E-301A48DD14CF}" dt="2023-09-15T09:24:34.349" v="886"/>
          <ac:graphicFrameMkLst>
            <pc:docMk/>
            <pc:sldMk cId="3237931907" sldId="263"/>
            <ac:graphicFrameMk id="3" creationId="{900796C7-9568-AA7D-48B1-D162673FAB3E}"/>
          </ac:graphicFrameMkLst>
        </pc:graphicFrameChg>
        <pc:graphicFrameChg chg="del">
          <ac:chgData name="Michaelsen, Børje" userId="c36523e3-11ed-4011-9a41-1983019c0634" providerId="ADAL" clId="{095A5938-E3E0-4926-845E-301A48DD14CF}" dt="2023-09-13T09:53:47.444" v="526" actId="478"/>
          <ac:graphicFrameMkLst>
            <pc:docMk/>
            <pc:sldMk cId="3237931907" sldId="263"/>
            <ac:graphicFrameMk id="4" creationId="{00000000-0000-0000-0000-000000000000}"/>
          </ac:graphicFrameMkLst>
        </pc:graphicFrameChg>
        <pc:graphicFrameChg chg="add mod">
          <ac:chgData name="Michaelsen, Børje" userId="c36523e3-11ed-4011-9a41-1983019c0634" providerId="ADAL" clId="{095A5938-E3E0-4926-845E-301A48DD14CF}" dt="2023-09-15T09:10:47.848" v="717"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095A5938-E3E0-4926-845E-301A48DD14CF}" dt="2023-09-15T09:22:05.085" v="820" actId="113"/>
          <ac:graphicFrameMkLst>
            <pc:docMk/>
            <pc:sldMk cId="3237931907" sldId="263"/>
            <ac:graphicFrameMk id="6" creationId="{E9E5DDBA-A07F-CE6E-551D-A0D84574F5FB}"/>
          </ac:graphicFrameMkLst>
        </pc:graphicFrameChg>
        <pc:graphicFrameChg chg="del">
          <ac:chgData name="Michaelsen, Børje" userId="c36523e3-11ed-4011-9a41-1983019c0634" providerId="ADAL" clId="{095A5938-E3E0-4926-845E-301A48DD14CF}" dt="2023-09-13T09:51:48.854" v="478" actId="478"/>
          <ac:graphicFrameMkLst>
            <pc:docMk/>
            <pc:sldMk cId="3237931907" sldId="263"/>
            <ac:graphicFrameMk id="7" creationId="{00000000-0008-0000-0100-000002000000}"/>
          </ac:graphicFrameMkLst>
        </pc:graphicFrameChg>
        <pc:graphicFrameChg chg="del">
          <ac:chgData name="Michaelsen, Børje" userId="c36523e3-11ed-4011-9a41-1983019c0634" providerId="ADAL" clId="{095A5938-E3E0-4926-845E-301A48DD14CF}" dt="2023-09-13T09:53:16.127" v="520" actId="478"/>
          <ac:graphicFrameMkLst>
            <pc:docMk/>
            <pc:sldMk cId="3237931907" sldId="263"/>
            <ac:graphicFrameMk id="9" creationId="{00000000-0008-0000-0100-000005000000}"/>
          </ac:graphicFrameMkLst>
        </pc:graphicFrameChg>
      </pc:sldChg>
      <pc:sldChg chg="modSp mod">
        <pc:chgData name="Michaelsen, Børje" userId="c36523e3-11ed-4011-9a41-1983019c0634" providerId="ADAL" clId="{095A5938-E3E0-4926-845E-301A48DD14CF}" dt="2023-09-15T09:19:37.006" v="774" actId="962"/>
        <pc:sldMkLst>
          <pc:docMk/>
          <pc:sldMk cId="445425979" sldId="264"/>
        </pc:sldMkLst>
        <pc:picChg chg="mod">
          <ac:chgData name="Michaelsen, Børje" userId="c36523e3-11ed-4011-9a41-1983019c0634" providerId="ADAL" clId="{095A5938-E3E0-4926-845E-301A48DD14CF}" dt="2023-09-15T09:19:30.953" v="771" actId="962"/>
          <ac:picMkLst>
            <pc:docMk/>
            <pc:sldMk cId="445425979" sldId="264"/>
            <ac:picMk id="4" creationId="{00000000-0000-0000-0000-000000000000}"/>
          </ac:picMkLst>
        </pc:picChg>
        <pc:picChg chg="mod">
          <ac:chgData name="Michaelsen, Børje" userId="c36523e3-11ed-4011-9a41-1983019c0634" providerId="ADAL" clId="{095A5938-E3E0-4926-845E-301A48DD14CF}" dt="2023-09-15T09:19:32.792" v="772" actId="962"/>
          <ac:picMkLst>
            <pc:docMk/>
            <pc:sldMk cId="445425979" sldId="264"/>
            <ac:picMk id="5" creationId="{00000000-0000-0000-0000-000000000000}"/>
          </ac:picMkLst>
        </pc:picChg>
        <pc:picChg chg="mod">
          <ac:chgData name="Michaelsen, Børje" userId="c36523e3-11ed-4011-9a41-1983019c0634" providerId="ADAL" clId="{095A5938-E3E0-4926-845E-301A48DD14CF}" dt="2023-09-15T09:19:34.537" v="773" actId="962"/>
          <ac:picMkLst>
            <pc:docMk/>
            <pc:sldMk cId="445425979" sldId="264"/>
            <ac:picMk id="6" creationId="{00000000-0000-0000-0000-000000000000}"/>
          </ac:picMkLst>
        </pc:picChg>
        <pc:picChg chg="mod">
          <ac:chgData name="Michaelsen, Børje" userId="c36523e3-11ed-4011-9a41-1983019c0634" providerId="ADAL" clId="{095A5938-E3E0-4926-845E-301A48DD14CF}" dt="2023-09-15T09:19:37.006" v="774" actId="962"/>
          <ac:picMkLst>
            <pc:docMk/>
            <pc:sldMk cId="445425979" sldId="264"/>
            <ac:picMk id="7" creationId="{00000000-0000-0000-0000-000000000000}"/>
          </ac:picMkLst>
        </pc:picChg>
      </pc:sldChg>
      <pc:sldChg chg="modSp mod">
        <pc:chgData name="Michaelsen, Børje" userId="c36523e3-11ed-4011-9a41-1983019c0634" providerId="ADAL" clId="{095A5938-E3E0-4926-845E-301A48DD14CF}" dt="2023-09-15T09:08:59.718" v="672" actId="962"/>
        <pc:sldMkLst>
          <pc:docMk/>
          <pc:sldMk cId="2441531406" sldId="267"/>
        </pc:sldMkLst>
        <pc:picChg chg="mod">
          <ac:chgData name="Michaelsen, Børje" userId="c36523e3-11ed-4011-9a41-1983019c0634" providerId="ADAL" clId="{095A5938-E3E0-4926-845E-301A48DD14CF}" dt="2023-09-15T09:08:54.231" v="669" actId="962"/>
          <ac:picMkLst>
            <pc:docMk/>
            <pc:sldMk cId="2441531406" sldId="267"/>
            <ac:picMk id="4" creationId="{00000000-0000-0000-0000-000000000000}"/>
          </ac:picMkLst>
        </pc:picChg>
        <pc:picChg chg="mod">
          <ac:chgData name="Michaelsen, Børje" userId="c36523e3-11ed-4011-9a41-1983019c0634" providerId="ADAL" clId="{095A5938-E3E0-4926-845E-301A48DD14CF}" dt="2023-09-15T09:08:55.977" v="670" actId="962"/>
          <ac:picMkLst>
            <pc:docMk/>
            <pc:sldMk cId="2441531406" sldId="267"/>
            <ac:picMk id="5" creationId="{00000000-0000-0000-0000-000000000000}"/>
          </ac:picMkLst>
        </pc:picChg>
        <pc:picChg chg="mod">
          <ac:chgData name="Michaelsen, Børje" userId="c36523e3-11ed-4011-9a41-1983019c0634" providerId="ADAL" clId="{095A5938-E3E0-4926-845E-301A48DD14CF}" dt="2023-09-15T09:08:57.624" v="671" actId="962"/>
          <ac:picMkLst>
            <pc:docMk/>
            <pc:sldMk cId="2441531406" sldId="267"/>
            <ac:picMk id="6" creationId="{00000000-0000-0000-0000-000000000000}"/>
          </ac:picMkLst>
        </pc:picChg>
        <pc:picChg chg="mod">
          <ac:chgData name="Michaelsen, Børje" userId="c36523e3-11ed-4011-9a41-1983019c0634" providerId="ADAL" clId="{095A5938-E3E0-4926-845E-301A48DD14CF}" dt="2023-09-15T09:08:59.718" v="672" actId="962"/>
          <ac:picMkLst>
            <pc:docMk/>
            <pc:sldMk cId="2441531406" sldId="267"/>
            <ac:picMk id="7" creationId="{00000000-0000-0000-0000-000000000000}"/>
          </ac:picMkLst>
        </pc:picChg>
      </pc:sldChg>
      <pc:sldChg chg="addSp modSp mod">
        <pc:chgData name="Michaelsen, Børje" userId="c36523e3-11ed-4011-9a41-1983019c0634" providerId="ADAL" clId="{095A5938-E3E0-4926-845E-301A48DD14CF}" dt="2023-09-29T12:59:23.219" v="1260"/>
        <pc:sldMkLst>
          <pc:docMk/>
          <pc:sldMk cId="394652420" sldId="268"/>
        </pc:sldMkLst>
        <pc:spChg chg="add mod">
          <ac:chgData name="Michaelsen, Børje" userId="c36523e3-11ed-4011-9a41-1983019c0634" providerId="ADAL" clId="{095A5938-E3E0-4926-845E-301A48DD14CF}" dt="2023-09-29T12:59:23.219" v="1260"/>
          <ac:spMkLst>
            <pc:docMk/>
            <pc:sldMk cId="394652420" sldId="268"/>
            <ac:spMk id="6" creationId="{F1426CAF-290A-7F97-3A90-D19FA305414E}"/>
          </ac:spMkLst>
        </pc:spChg>
        <pc:picChg chg="mod ord">
          <ac:chgData name="Michaelsen, Børje" userId="c36523e3-11ed-4011-9a41-1983019c0634" providerId="ADAL" clId="{095A5938-E3E0-4926-845E-301A48DD14CF}" dt="2023-09-15T09:26:26.959" v="904"/>
          <ac:picMkLst>
            <pc:docMk/>
            <pc:sldMk cId="394652420" sldId="268"/>
            <ac:picMk id="4" creationId="{00000000-0000-0000-0000-000000000000}"/>
          </ac:picMkLst>
        </pc:picChg>
      </pc:sldChg>
      <pc:sldChg chg="addSp delSp modSp mod modNotesTx">
        <pc:chgData name="Michaelsen, Børje" userId="c36523e3-11ed-4011-9a41-1983019c0634" providerId="ADAL" clId="{095A5938-E3E0-4926-845E-301A48DD14CF}" dt="2023-09-15T09:26:43.247" v="910" actId="962"/>
        <pc:sldMkLst>
          <pc:docMk/>
          <pc:sldMk cId="1763573476" sldId="269"/>
        </pc:sldMkLst>
        <pc:spChg chg="mod">
          <ac:chgData name="Michaelsen, Børje" userId="c36523e3-11ed-4011-9a41-1983019c0634" providerId="ADAL" clId="{095A5938-E3E0-4926-845E-301A48DD14CF}" dt="2023-08-29T13:23:41.075" v="111" actId="14100"/>
          <ac:spMkLst>
            <pc:docMk/>
            <pc:sldMk cId="1763573476" sldId="269"/>
            <ac:spMk id="3" creationId="{00000000-0000-0000-0000-000000000000}"/>
          </ac:spMkLst>
        </pc:spChg>
        <pc:spChg chg="add mod">
          <ac:chgData name="Michaelsen, Børje" userId="c36523e3-11ed-4011-9a41-1983019c0634" providerId="ADAL" clId="{095A5938-E3E0-4926-845E-301A48DD14CF}" dt="2023-08-29T13:23:50.677" v="112"/>
          <ac:spMkLst>
            <pc:docMk/>
            <pc:sldMk cId="1763573476" sldId="269"/>
            <ac:spMk id="4" creationId="{21D19885-C68F-716D-8B28-0F47473C83B3}"/>
          </ac:spMkLst>
        </pc:spChg>
        <pc:graphicFrameChg chg="add mod">
          <ac:chgData name="Michaelsen, Børje" userId="c36523e3-11ed-4011-9a41-1983019c0634" providerId="ADAL" clId="{095A5938-E3E0-4926-845E-301A48DD14CF}" dt="2023-09-15T09:26:37.365" v="905"/>
          <ac:graphicFrameMkLst>
            <pc:docMk/>
            <pc:sldMk cId="1763573476" sldId="269"/>
            <ac:graphicFrameMk id="6" creationId="{797AC478-8122-82A9-CE54-468B12350597}"/>
          </ac:graphicFrameMkLst>
        </pc:graphicFrameChg>
        <pc:picChg chg="del">
          <ac:chgData name="Michaelsen, Børje" userId="c36523e3-11ed-4011-9a41-1983019c0634" providerId="ADAL" clId="{095A5938-E3E0-4926-845E-301A48DD14CF}" dt="2023-08-29T13:23:53.548" v="113" actId="478"/>
          <ac:picMkLst>
            <pc:docMk/>
            <pc:sldMk cId="1763573476" sldId="269"/>
            <ac:picMk id="5" creationId="{00000000-0000-0000-0000-000000000000}"/>
          </ac:picMkLst>
        </pc:picChg>
        <pc:picChg chg="add mod">
          <ac:chgData name="Michaelsen, Børje" userId="c36523e3-11ed-4011-9a41-1983019c0634" providerId="ADAL" clId="{095A5938-E3E0-4926-845E-301A48DD14CF}" dt="2023-09-15T09:26:41.335" v="906" actId="962"/>
          <ac:picMkLst>
            <pc:docMk/>
            <pc:sldMk cId="1763573476" sldId="269"/>
            <ac:picMk id="7" creationId="{C9F74E3D-19D7-CFDC-A408-BB919D1BC3DE}"/>
          </ac:picMkLst>
        </pc:picChg>
        <pc:picChg chg="add mod">
          <ac:chgData name="Michaelsen, Børje" userId="c36523e3-11ed-4011-9a41-1983019c0634" providerId="ADAL" clId="{095A5938-E3E0-4926-845E-301A48DD14CF}" dt="2023-09-15T09:26:41.806" v="907" actId="962"/>
          <ac:picMkLst>
            <pc:docMk/>
            <pc:sldMk cId="1763573476" sldId="269"/>
            <ac:picMk id="8" creationId="{D8E75CF3-BF4B-EA96-7FD2-5F7F13EEB061}"/>
          </ac:picMkLst>
        </pc:picChg>
        <pc:picChg chg="add mod">
          <ac:chgData name="Michaelsen, Børje" userId="c36523e3-11ed-4011-9a41-1983019c0634" providerId="ADAL" clId="{095A5938-E3E0-4926-845E-301A48DD14CF}" dt="2023-09-15T09:26:42.342" v="908" actId="962"/>
          <ac:picMkLst>
            <pc:docMk/>
            <pc:sldMk cId="1763573476" sldId="269"/>
            <ac:picMk id="9" creationId="{24D83ABF-A55D-3303-8524-684AD91E4900}"/>
          </ac:picMkLst>
        </pc:picChg>
        <pc:picChg chg="add mod">
          <ac:chgData name="Michaelsen, Børje" userId="c36523e3-11ed-4011-9a41-1983019c0634" providerId="ADAL" clId="{095A5938-E3E0-4926-845E-301A48DD14CF}" dt="2023-09-15T09:26:42.789" v="909" actId="962"/>
          <ac:picMkLst>
            <pc:docMk/>
            <pc:sldMk cId="1763573476" sldId="269"/>
            <ac:picMk id="10" creationId="{2BEBB111-7B73-AC31-0042-4B37372A00FA}"/>
          </ac:picMkLst>
        </pc:picChg>
        <pc:picChg chg="add mod">
          <ac:chgData name="Michaelsen, Børje" userId="c36523e3-11ed-4011-9a41-1983019c0634" providerId="ADAL" clId="{095A5938-E3E0-4926-845E-301A48DD14CF}" dt="2023-09-15T09:26:43.247" v="910" actId="962"/>
          <ac:picMkLst>
            <pc:docMk/>
            <pc:sldMk cId="1763573476" sldId="269"/>
            <ac:picMk id="11" creationId="{D988B499-7D3E-F48B-452A-C536EDE9412B}"/>
          </ac:picMkLst>
        </pc:picChg>
      </pc:sldChg>
      <pc:sldChg chg="addSp delSp modSp mod">
        <pc:chgData name="Michaelsen, Børje" userId="c36523e3-11ed-4011-9a41-1983019c0634" providerId="ADAL" clId="{095A5938-E3E0-4926-845E-301A48DD14CF}" dt="2023-09-15T09:23:58.567" v="857"/>
        <pc:sldMkLst>
          <pc:docMk/>
          <pc:sldMk cId="1348694183" sldId="272"/>
        </pc:sldMkLst>
        <pc:spChg chg="add mod">
          <ac:chgData name="Michaelsen, Børje" userId="c36523e3-11ed-4011-9a41-1983019c0634" providerId="ADAL" clId="{095A5938-E3E0-4926-845E-301A48DD14CF}" dt="2023-08-28T07:01:44.852" v="76" actId="1036"/>
          <ac:spMkLst>
            <pc:docMk/>
            <pc:sldMk cId="1348694183" sldId="272"/>
            <ac:spMk id="4" creationId="{0A8B5166-6B04-424C-EDF0-9989FD4F69F5}"/>
          </ac:spMkLst>
        </pc:spChg>
        <pc:spChg chg="del">
          <ac:chgData name="Michaelsen, Børje" userId="c36523e3-11ed-4011-9a41-1983019c0634" providerId="ADAL" clId="{095A5938-E3E0-4926-845E-301A48DD14CF}" dt="2023-08-28T07:01:34.036" v="72" actId="478"/>
          <ac:spMkLst>
            <pc:docMk/>
            <pc:sldMk cId="1348694183" sldId="272"/>
            <ac:spMk id="7" creationId="{00000000-0000-0000-0000-000000000000}"/>
          </ac:spMkLst>
        </pc:spChg>
        <pc:graphicFrameChg chg="mod modGraphic">
          <ac:chgData name="Michaelsen, Børje" userId="c36523e3-11ed-4011-9a41-1983019c0634" providerId="ADAL" clId="{095A5938-E3E0-4926-845E-301A48DD14CF}" dt="2023-09-15T09:21:51.407" v="818" actId="12385"/>
          <ac:graphicFrameMkLst>
            <pc:docMk/>
            <pc:sldMk cId="1348694183" sldId="272"/>
            <ac:graphicFrameMk id="6" creationId="{00000000-0000-0000-0000-000000000000}"/>
          </ac:graphicFrameMkLst>
        </pc:graphicFrameChg>
        <pc:picChg chg="del">
          <ac:chgData name="Michaelsen, Børje" userId="c36523e3-11ed-4011-9a41-1983019c0634" providerId="ADAL" clId="{095A5938-E3E0-4926-845E-301A48DD14CF}" dt="2023-08-28T07:01:27.203" v="70" actId="478"/>
          <ac:picMkLst>
            <pc:docMk/>
            <pc:sldMk cId="1348694183" sldId="272"/>
            <ac:picMk id="3" creationId="{00000000-0000-0000-0000-000000000000}"/>
          </ac:picMkLst>
        </pc:picChg>
        <pc:picChg chg="add mod ord">
          <ac:chgData name="Michaelsen, Børje" userId="c36523e3-11ed-4011-9a41-1983019c0634" providerId="ADAL" clId="{095A5938-E3E0-4926-845E-301A48DD14CF}" dt="2023-09-15T09:23:58.567" v="857"/>
          <ac:picMkLst>
            <pc:docMk/>
            <pc:sldMk cId="1348694183" sldId="272"/>
            <ac:picMk id="8" creationId="{C8038191-DB7B-E749-3F12-F1C96064AD77}"/>
          </ac:picMkLst>
        </pc:picChg>
      </pc:sldChg>
      <pc:sldChg chg="modSp mod">
        <pc:chgData name="Michaelsen, Børje" userId="c36523e3-11ed-4011-9a41-1983019c0634" providerId="ADAL" clId="{095A5938-E3E0-4926-845E-301A48DD14CF}" dt="2023-09-22T06:57:31.731" v="964" actId="962"/>
        <pc:sldMkLst>
          <pc:docMk/>
          <pc:sldMk cId="2044844844" sldId="273"/>
        </pc:sldMkLst>
        <pc:spChg chg="ord">
          <ac:chgData name="Michaelsen, Børje" userId="c36523e3-11ed-4011-9a41-1983019c0634" providerId="ADAL" clId="{095A5938-E3E0-4926-845E-301A48DD14CF}" dt="2023-09-15T09:23:04.089" v="833"/>
          <ac:spMkLst>
            <pc:docMk/>
            <pc:sldMk cId="2044844844" sldId="273"/>
            <ac:spMk id="5" creationId="{00000000-0000-0000-0000-000000000000}"/>
          </ac:spMkLst>
        </pc:spChg>
        <pc:picChg chg="mod">
          <ac:chgData name="Michaelsen, Børje" userId="c36523e3-11ed-4011-9a41-1983019c0634" providerId="ADAL" clId="{095A5938-E3E0-4926-845E-301A48DD14CF}" dt="2023-09-22T06:57:31.731" v="964" actId="962"/>
          <ac:picMkLst>
            <pc:docMk/>
            <pc:sldMk cId="2044844844" sldId="273"/>
            <ac:picMk id="4" creationId="{00000000-0000-0000-0000-000000000000}"/>
          </ac:picMkLst>
        </pc:picChg>
      </pc:sldChg>
      <pc:sldChg chg="addSp modSp mod">
        <pc:chgData name="Michaelsen, Børje" userId="c36523e3-11ed-4011-9a41-1983019c0634" providerId="ADAL" clId="{095A5938-E3E0-4926-845E-301A48DD14CF}" dt="2023-09-29T12:58:24.184" v="1256"/>
        <pc:sldMkLst>
          <pc:docMk/>
          <pc:sldMk cId="340623003" sldId="274"/>
        </pc:sldMkLst>
        <pc:spChg chg="add mod">
          <ac:chgData name="Michaelsen, Børje" userId="c36523e3-11ed-4011-9a41-1983019c0634" providerId="ADAL" clId="{095A5938-E3E0-4926-845E-301A48DD14CF}" dt="2023-09-29T12:58:24.184" v="1256"/>
          <ac:spMkLst>
            <pc:docMk/>
            <pc:sldMk cId="340623003" sldId="274"/>
            <ac:spMk id="5" creationId="{3231F0EE-D07B-8452-3AEB-E4DC02285281}"/>
          </ac:spMkLst>
        </pc:spChg>
        <pc:graphicFrameChg chg="mod">
          <ac:chgData name="Michaelsen, Børje" userId="c36523e3-11ed-4011-9a41-1983019c0634" providerId="ADAL" clId="{095A5938-E3E0-4926-845E-301A48DD14CF}" dt="2023-09-15T09:22:54.982" v="831"/>
          <ac:graphicFrameMkLst>
            <pc:docMk/>
            <pc:sldMk cId="340623003" sldId="274"/>
            <ac:graphicFrameMk id="7" creationId="{00000000-0008-0000-0100-000002000000}"/>
          </ac:graphicFrameMkLst>
        </pc:graphicFrameChg>
        <pc:picChg chg="mod ord">
          <ac:chgData name="Michaelsen, Børje" userId="c36523e3-11ed-4011-9a41-1983019c0634" providerId="ADAL" clId="{095A5938-E3E0-4926-845E-301A48DD14CF}" dt="2023-09-15T09:22:58.263" v="832"/>
          <ac:picMkLst>
            <pc:docMk/>
            <pc:sldMk cId="340623003" sldId="274"/>
            <ac:picMk id="3" creationId="{00000000-0000-0000-0000-000000000000}"/>
          </ac:picMkLst>
        </pc:picChg>
      </pc:sldChg>
      <pc:sldChg chg="addSp delSp modSp mod modNotesTx">
        <pc:chgData name="Michaelsen, Børje" userId="c36523e3-11ed-4011-9a41-1983019c0634" providerId="ADAL" clId="{095A5938-E3E0-4926-845E-301A48DD14CF}" dt="2023-09-15T09:25:43.862" v="900"/>
        <pc:sldMkLst>
          <pc:docMk/>
          <pc:sldMk cId="4110371661" sldId="275"/>
        </pc:sldMkLst>
        <pc:spChg chg="add mod">
          <ac:chgData name="Michaelsen, Børje" userId="c36523e3-11ed-4011-9a41-1983019c0634" providerId="ADAL" clId="{095A5938-E3E0-4926-845E-301A48DD14CF}" dt="2023-08-29T07:00:49.598" v="104" actId="1076"/>
          <ac:spMkLst>
            <pc:docMk/>
            <pc:sldMk cId="4110371661" sldId="275"/>
            <ac:spMk id="4" creationId="{3F6DA489-E162-470A-0266-703FD4791323}"/>
          </ac:spMkLst>
        </pc:spChg>
        <pc:spChg chg="del">
          <ac:chgData name="Michaelsen, Børje" userId="c36523e3-11ed-4011-9a41-1983019c0634" providerId="ADAL" clId="{095A5938-E3E0-4926-845E-301A48DD14CF}" dt="2023-08-29T07:00:42.106" v="102" actId="478"/>
          <ac:spMkLst>
            <pc:docMk/>
            <pc:sldMk cId="4110371661" sldId="275"/>
            <ac:spMk id="9" creationId="{00000000-0000-0000-0000-000000000000}"/>
          </ac:spMkLst>
        </pc:spChg>
        <pc:graphicFrameChg chg="add mod">
          <ac:chgData name="Michaelsen, Børje" userId="c36523e3-11ed-4011-9a41-1983019c0634" providerId="ADAL" clId="{095A5938-E3E0-4926-845E-301A48DD14CF}" dt="2023-09-15T09:25:43.862" v="900"/>
          <ac:graphicFrameMkLst>
            <pc:docMk/>
            <pc:sldMk cId="4110371661" sldId="275"/>
            <ac:graphicFrameMk id="5" creationId="{A9AB4960-5BA5-6AF9-F3ED-65DFE4591263}"/>
          </ac:graphicFrameMkLst>
        </pc:graphicFrameChg>
        <pc:graphicFrameChg chg="del">
          <ac:chgData name="Michaelsen, Børje" userId="c36523e3-11ed-4011-9a41-1983019c0634" providerId="ADAL" clId="{095A5938-E3E0-4926-845E-301A48DD14CF}" dt="2023-08-29T07:01:35.975" v="106" actId="478"/>
          <ac:graphicFrameMkLst>
            <pc:docMk/>
            <pc:sldMk cId="4110371661" sldId="275"/>
            <ac:graphicFrameMk id="6" creationId="{00000000-0000-0000-0000-000000000000}"/>
          </ac:graphicFrameMkLst>
        </pc:graphicFrameChg>
      </pc:sldChg>
      <pc:sldChg chg="addSp delSp modSp mod">
        <pc:chgData name="Michaelsen, Børje" userId="c36523e3-11ed-4011-9a41-1983019c0634" providerId="ADAL" clId="{095A5938-E3E0-4926-845E-301A48DD14CF}" dt="2023-09-15T09:25:33.665" v="899"/>
        <pc:sldMkLst>
          <pc:docMk/>
          <pc:sldMk cId="768537486" sldId="276"/>
        </pc:sldMkLst>
        <pc:spChg chg="ord">
          <ac:chgData name="Michaelsen, Børje" userId="c36523e3-11ed-4011-9a41-1983019c0634" providerId="ADAL" clId="{095A5938-E3E0-4926-845E-301A48DD14CF}" dt="2023-09-15T09:25:27.198" v="897"/>
          <ac:spMkLst>
            <pc:docMk/>
            <pc:sldMk cId="768537486" sldId="276"/>
            <ac:spMk id="2" creationId="{00000000-0000-0000-0000-000000000000}"/>
          </ac:spMkLst>
        </pc:spChg>
        <pc:spChg chg="add mod">
          <ac:chgData name="Michaelsen, Børje" userId="c36523e3-11ed-4011-9a41-1983019c0634" providerId="ADAL" clId="{095A5938-E3E0-4926-845E-301A48DD14CF}" dt="2023-08-28T08:59:27.386" v="98" actId="1036"/>
          <ac:spMkLst>
            <pc:docMk/>
            <pc:sldMk cId="768537486" sldId="276"/>
            <ac:spMk id="3" creationId="{7E4CB53F-5721-F68D-099F-CA13F041DC21}"/>
          </ac:spMkLst>
        </pc:spChg>
        <pc:spChg chg="del">
          <ac:chgData name="Michaelsen, Børje" userId="c36523e3-11ed-4011-9a41-1983019c0634" providerId="ADAL" clId="{095A5938-E3E0-4926-845E-301A48DD14CF}" dt="2023-08-28T08:59:14.562" v="87" actId="478"/>
          <ac:spMkLst>
            <pc:docMk/>
            <pc:sldMk cId="768537486" sldId="276"/>
            <ac:spMk id="7" creationId="{00000000-0000-0000-0000-000000000000}"/>
          </ac:spMkLst>
        </pc:spChg>
        <pc:spChg chg="mod ord">
          <ac:chgData name="Michaelsen, Børje" userId="c36523e3-11ed-4011-9a41-1983019c0634" providerId="ADAL" clId="{095A5938-E3E0-4926-845E-301A48DD14CF}" dt="2023-09-15T09:25:29.366" v="898"/>
          <ac:spMkLst>
            <pc:docMk/>
            <pc:sldMk cId="768537486" sldId="276"/>
            <ac:spMk id="9" creationId="{00000000-0000-0000-0000-000000000000}"/>
          </ac:spMkLst>
        </pc:spChg>
        <pc:graphicFrameChg chg="mod">
          <ac:chgData name="Michaelsen, Børje" userId="c36523e3-11ed-4011-9a41-1983019c0634" providerId="ADAL" clId="{095A5938-E3E0-4926-845E-301A48DD14CF}" dt="2023-09-15T09:22:11.101" v="821" actId="12385"/>
          <ac:graphicFrameMkLst>
            <pc:docMk/>
            <pc:sldMk cId="768537486" sldId="276"/>
            <ac:graphicFrameMk id="8" creationId="{00000000-0000-0000-0000-000000000000}"/>
          </ac:graphicFrameMkLst>
        </pc:graphicFrameChg>
        <pc:picChg chg="del">
          <ac:chgData name="Michaelsen, Børje" userId="c36523e3-11ed-4011-9a41-1983019c0634" providerId="ADAL" clId="{095A5938-E3E0-4926-845E-301A48DD14CF}" dt="2023-08-28T08:59:37.658" v="99" actId="478"/>
          <ac:picMkLst>
            <pc:docMk/>
            <pc:sldMk cId="768537486" sldId="276"/>
            <ac:picMk id="4" creationId="{00000000-0000-0000-0000-000000000000}"/>
          </ac:picMkLst>
        </pc:picChg>
        <pc:picChg chg="add mod ord">
          <ac:chgData name="Michaelsen, Børje" userId="c36523e3-11ed-4011-9a41-1983019c0634" providerId="ADAL" clId="{095A5938-E3E0-4926-845E-301A48DD14CF}" dt="2023-09-15T09:25:33.665" v="899"/>
          <ac:picMkLst>
            <pc:docMk/>
            <pc:sldMk cId="768537486" sldId="276"/>
            <ac:picMk id="5" creationId="{477924D2-B0EB-CFD4-F695-6FF5C79E6FE9}"/>
          </ac:picMkLst>
        </pc:picChg>
      </pc:sldChg>
      <pc:sldChg chg="addSp delSp modSp mod">
        <pc:chgData name="Michaelsen, Børje" userId="c36523e3-11ed-4011-9a41-1983019c0634" providerId="ADAL" clId="{095A5938-E3E0-4926-845E-301A48DD14CF}" dt="2023-09-15T09:25:56.670" v="901"/>
        <pc:sldMkLst>
          <pc:docMk/>
          <pc:sldMk cId="2721633966" sldId="277"/>
        </pc:sldMkLst>
        <pc:spChg chg="add mod">
          <ac:chgData name="Michaelsen, Børje" userId="c36523e3-11ed-4011-9a41-1983019c0634" providerId="ADAL" clId="{095A5938-E3E0-4926-845E-301A48DD14CF}" dt="2023-09-01T12:58:04.104" v="284"/>
          <ac:spMkLst>
            <pc:docMk/>
            <pc:sldMk cId="2721633966" sldId="277"/>
            <ac:spMk id="4" creationId="{B9D70EB9-0037-1CDD-E656-409BCE89234E}"/>
          </ac:spMkLst>
        </pc:spChg>
        <pc:spChg chg="del">
          <ac:chgData name="Michaelsen, Børje" userId="c36523e3-11ed-4011-9a41-1983019c0634" providerId="ADAL" clId="{095A5938-E3E0-4926-845E-301A48DD14CF}" dt="2023-09-01T12:58:02.616" v="283" actId="478"/>
          <ac:spMkLst>
            <pc:docMk/>
            <pc:sldMk cId="2721633966" sldId="277"/>
            <ac:spMk id="9" creationId="{00000000-0000-0000-0000-000000000000}"/>
          </ac:spMkLst>
        </pc:spChg>
        <pc:graphicFrameChg chg="add mod">
          <ac:chgData name="Michaelsen, Børje" userId="c36523e3-11ed-4011-9a41-1983019c0634" providerId="ADAL" clId="{095A5938-E3E0-4926-845E-301A48DD14CF}" dt="2023-09-15T09:25:56.670" v="901"/>
          <ac:graphicFrameMkLst>
            <pc:docMk/>
            <pc:sldMk cId="2721633966" sldId="277"/>
            <ac:graphicFrameMk id="5" creationId="{1E871170-F82D-1EDA-BE6F-558892AFB706}"/>
          </ac:graphicFrameMkLst>
        </pc:graphicFrameChg>
        <pc:graphicFrameChg chg="del">
          <ac:chgData name="Michaelsen, Børje" userId="c36523e3-11ed-4011-9a41-1983019c0634" providerId="ADAL" clId="{095A5938-E3E0-4926-845E-301A48DD14CF}" dt="2023-09-01T13:03:28.668" v="285" actId="478"/>
          <ac:graphicFrameMkLst>
            <pc:docMk/>
            <pc:sldMk cId="2721633966" sldId="277"/>
            <ac:graphicFrameMk id="6" creationId="{00000000-0000-0000-0000-000000000000}"/>
          </ac:graphicFrameMkLst>
        </pc:graphicFrameChg>
      </pc:sldChg>
      <pc:sldChg chg="del">
        <pc:chgData name="Michaelsen, Børje" userId="c36523e3-11ed-4011-9a41-1983019c0634" providerId="ADAL" clId="{095A5938-E3E0-4926-845E-301A48DD14CF}" dt="2023-08-29T13:24:35.731" v="121" actId="47"/>
        <pc:sldMkLst>
          <pc:docMk/>
          <pc:sldMk cId="1321071006" sldId="278"/>
        </pc:sldMkLst>
      </pc:sldChg>
      <pc:sldChg chg="addSp delSp modSp mod">
        <pc:chgData name="Michaelsen, Børje" userId="c36523e3-11ed-4011-9a41-1983019c0634" providerId="ADAL" clId="{095A5938-E3E0-4926-845E-301A48DD14CF}" dt="2023-09-29T12:58:53.177" v="1258"/>
        <pc:sldMkLst>
          <pc:docMk/>
          <pc:sldMk cId="662108869" sldId="279"/>
        </pc:sldMkLst>
        <pc:spChg chg="mod">
          <ac:chgData name="Michaelsen, Børje" userId="c36523e3-11ed-4011-9a41-1983019c0634" providerId="ADAL" clId="{095A5938-E3E0-4926-845E-301A48DD14CF}" dt="2023-09-13T09:52:20.619" v="511" actId="20577"/>
          <ac:spMkLst>
            <pc:docMk/>
            <pc:sldMk cId="662108869" sldId="279"/>
            <ac:spMk id="2" creationId="{00000000-0000-0000-0000-000000000000}"/>
          </ac:spMkLst>
        </pc:spChg>
        <pc:spChg chg="add mod">
          <ac:chgData name="Michaelsen, Børje" userId="c36523e3-11ed-4011-9a41-1983019c0634" providerId="ADAL" clId="{095A5938-E3E0-4926-845E-301A48DD14CF}" dt="2023-09-29T12:58:53.177" v="1258"/>
          <ac:spMkLst>
            <pc:docMk/>
            <pc:sldMk cId="662108869" sldId="279"/>
            <ac:spMk id="5" creationId="{C19ADEF0-FC35-B783-342F-475824D7A23D}"/>
          </ac:spMkLst>
        </pc:spChg>
        <pc:spChg chg="mod">
          <ac:chgData name="Michaelsen, Børje" userId="c36523e3-11ed-4011-9a41-1983019c0634" providerId="ADAL" clId="{095A5938-E3E0-4926-845E-301A48DD14CF}" dt="2023-09-26T13:13:13.612" v="1255" actId="207"/>
          <ac:spMkLst>
            <pc:docMk/>
            <pc:sldMk cId="662108869" sldId="279"/>
            <ac:spMk id="10" creationId="{00000000-0000-0000-0000-000000000000}"/>
          </ac:spMkLst>
        </pc:spChg>
        <pc:graphicFrameChg chg="add mod ord">
          <ac:chgData name="Michaelsen, Børje" userId="c36523e3-11ed-4011-9a41-1983019c0634" providerId="ADAL" clId="{095A5938-E3E0-4926-845E-301A48DD14CF}" dt="2023-09-15T09:24:45.374" v="887"/>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095A5938-E3E0-4926-845E-301A48DD14CF}" dt="2023-09-15T09:24:49.644" v="888"/>
          <ac:graphicFrameMkLst>
            <pc:docMk/>
            <pc:sldMk cId="662108869" sldId="279"/>
            <ac:graphicFrameMk id="4" creationId="{24E4A504-A222-3225-2904-7772932E33DE}"/>
          </ac:graphicFrameMkLst>
        </pc:graphicFrameChg>
        <pc:graphicFrameChg chg="del">
          <ac:chgData name="Michaelsen, Børje" userId="c36523e3-11ed-4011-9a41-1983019c0634" providerId="ADAL" clId="{095A5938-E3E0-4926-845E-301A48DD14CF}" dt="2023-09-13T09:55:59.519" v="592" actId="478"/>
          <ac:graphicFrameMkLst>
            <pc:docMk/>
            <pc:sldMk cId="662108869" sldId="279"/>
            <ac:graphicFrameMk id="8" creationId="{00000000-0008-0000-0600-000005000000}"/>
          </ac:graphicFrameMkLst>
        </pc:graphicFrameChg>
        <pc:graphicFrameChg chg="del">
          <ac:chgData name="Michaelsen, Børje" userId="c36523e3-11ed-4011-9a41-1983019c0634" providerId="ADAL" clId="{095A5938-E3E0-4926-845E-301A48DD14CF}" dt="2023-09-13T09:57:45.536" v="597"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095A5938-E3E0-4926-845E-301A48DD14CF}" dt="2023-09-15T09:11:45.879" v="731" actId="962"/>
        <pc:sldMkLst>
          <pc:docMk/>
          <pc:sldMk cId="835482435" sldId="282"/>
        </pc:sldMkLst>
        <pc:spChg chg="mod">
          <ac:chgData name="Michaelsen, Børje" userId="c36523e3-11ed-4011-9a41-1983019c0634" providerId="ADAL" clId="{095A5938-E3E0-4926-845E-301A48DD14CF}" dt="2023-09-07T12:08:56.446" v="392" actId="14100"/>
          <ac:spMkLst>
            <pc:docMk/>
            <pc:sldMk cId="835482435" sldId="282"/>
            <ac:spMk id="3" creationId="{00000000-0000-0000-0000-000000000000}"/>
          </ac:spMkLst>
        </pc:spChg>
        <pc:spChg chg="add mod">
          <ac:chgData name="Michaelsen, Børje" userId="c36523e3-11ed-4011-9a41-1983019c0634" providerId="ADAL" clId="{095A5938-E3E0-4926-845E-301A48DD14CF}" dt="2023-09-07T12:09:06.572" v="412" actId="1035"/>
          <ac:spMkLst>
            <pc:docMk/>
            <pc:sldMk cId="835482435" sldId="282"/>
            <ac:spMk id="6" creationId="{76127985-A289-FD06-1102-26735A4451A6}"/>
          </ac:spMkLst>
        </pc:spChg>
        <pc:graphicFrameChg chg="add mod">
          <ac:chgData name="Michaelsen, Børje" userId="c36523e3-11ed-4011-9a41-1983019c0634" providerId="ADAL" clId="{095A5938-E3E0-4926-845E-301A48DD14CF}" dt="2023-09-15T09:11:45.879" v="731"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095A5938-E3E0-4926-845E-301A48DD14CF}" dt="2023-09-07T12:07:26.418" v="289" actId="478"/>
          <ac:graphicFrameMkLst>
            <pc:docMk/>
            <pc:sldMk cId="835482435" sldId="282"/>
            <ac:graphicFrameMk id="5" creationId="{00000000-0000-0000-0000-000000000000}"/>
          </ac:graphicFrameMkLst>
        </pc:graphicFrameChg>
      </pc:sldChg>
      <pc:sldChg chg="addSp delSp modSp mod modNotesTx">
        <pc:chgData name="Michaelsen, Børje" userId="c36523e3-11ed-4011-9a41-1983019c0634" providerId="ADAL" clId="{095A5938-E3E0-4926-845E-301A48DD14CF}" dt="2023-09-21T10:21:22.311" v="946" actId="20577"/>
        <pc:sldMkLst>
          <pc:docMk/>
          <pc:sldMk cId="4206418978" sldId="283"/>
        </pc:sldMkLst>
        <pc:spChg chg="mod">
          <ac:chgData name="Michaelsen, Børje" userId="c36523e3-11ed-4011-9a41-1983019c0634" providerId="ADAL" clId="{095A5938-E3E0-4926-845E-301A48DD14CF}" dt="2023-09-21T10:21:22.311" v="946" actId="20577"/>
          <ac:spMkLst>
            <pc:docMk/>
            <pc:sldMk cId="4206418978" sldId="283"/>
            <ac:spMk id="12" creationId="{00000000-0000-0000-0000-000000000000}"/>
          </ac:spMkLst>
        </pc:spChg>
        <pc:graphicFrameChg chg="add mod">
          <ac:chgData name="Michaelsen, Børje" userId="c36523e3-11ed-4011-9a41-1983019c0634" providerId="ADAL" clId="{095A5938-E3E0-4926-845E-301A48DD14CF}" dt="2023-09-21T10:20:29.102" v="939"/>
          <ac:graphicFrameMkLst>
            <pc:docMk/>
            <pc:sldMk cId="4206418978" sldId="283"/>
            <ac:graphicFrameMk id="2" creationId="{319D5D89-085C-D835-1272-7769952A07A3}"/>
          </ac:graphicFrameMkLst>
        </pc:graphicFrameChg>
        <pc:graphicFrameChg chg="add mod">
          <ac:chgData name="Michaelsen, Børje" userId="c36523e3-11ed-4011-9a41-1983019c0634" providerId="ADAL" clId="{095A5938-E3E0-4926-845E-301A48DD14CF}" dt="2023-09-21T10:20:44.938" v="940"/>
          <ac:graphicFrameMkLst>
            <pc:docMk/>
            <pc:sldMk cId="4206418978" sldId="283"/>
            <ac:graphicFrameMk id="3" creationId="{9796ECC7-0AFC-5FC5-614A-267C90EE6928}"/>
          </ac:graphicFrameMkLst>
        </pc:graphicFrameChg>
        <pc:graphicFrameChg chg="del mod">
          <ac:chgData name="Michaelsen, Børje" userId="c36523e3-11ed-4011-9a41-1983019c0634" providerId="ADAL" clId="{095A5938-E3E0-4926-845E-301A48DD14CF}" dt="2023-09-21T10:19:56.303" v="935"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095A5938-E3E0-4926-845E-301A48DD14CF}" dt="2023-09-21T10:19:48.401" v="933"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095A5938-E3E0-4926-845E-301A48DD14CF}" dt="2023-09-29T12:58:43.168" v="1257"/>
        <pc:sldMkLst>
          <pc:docMk/>
          <pc:sldMk cId="3156779651" sldId="284"/>
        </pc:sldMkLst>
        <pc:spChg chg="ord">
          <ac:chgData name="Michaelsen, Børje" userId="c36523e3-11ed-4011-9a41-1983019c0634" providerId="ADAL" clId="{095A5938-E3E0-4926-845E-301A48DD14CF}" dt="2023-09-15T09:24:04.278" v="858"/>
          <ac:spMkLst>
            <pc:docMk/>
            <pc:sldMk cId="3156779651" sldId="284"/>
            <ac:spMk id="2" creationId="{00000000-0000-0000-0000-000000000000}"/>
          </ac:spMkLst>
        </pc:spChg>
        <pc:spChg chg="mod ord">
          <ac:chgData name="Michaelsen, Børje" userId="c36523e3-11ed-4011-9a41-1983019c0634" providerId="ADAL" clId="{095A5938-E3E0-4926-845E-301A48DD14CF}" dt="2023-09-15T09:24:07.566" v="859"/>
          <ac:spMkLst>
            <pc:docMk/>
            <pc:sldMk cId="3156779651" sldId="284"/>
            <ac:spMk id="3" creationId="{00000000-0000-0000-0000-000000000000}"/>
          </ac:spMkLst>
        </pc:spChg>
        <pc:spChg chg="add mod">
          <ac:chgData name="Michaelsen, Børje" userId="c36523e3-11ed-4011-9a41-1983019c0634" providerId="ADAL" clId="{095A5938-E3E0-4926-845E-301A48DD14CF}" dt="2023-09-29T12:58:43.168" v="1257"/>
          <ac:spMkLst>
            <pc:docMk/>
            <pc:sldMk cId="3156779651" sldId="284"/>
            <ac:spMk id="6" creationId="{A23F26A9-46A7-6FE8-8515-362FBDDAE68B}"/>
          </ac:spMkLst>
        </pc:spChg>
        <pc:spChg chg="mod ord">
          <ac:chgData name="Michaelsen, Børje" userId="c36523e3-11ed-4011-9a41-1983019c0634" providerId="ADAL" clId="{095A5938-E3E0-4926-845E-301A48DD14CF}" dt="2023-09-15T09:24:22.589" v="885"/>
          <ac:spMkLst>
            <pc:docMk/>
            <pc:sldMk cId="3156779651" sldId="284"/>
            <ac:spMk id="29" creationId="{00000000-0000-0000-0000-000000000000}"/>
          </ac:spMkLst>
        </pc:spChg>
        <pc:grpChg chg="mod">
          <ac:chgData name="Michaelsen, Børje" userId="c36523e3-11ed-4011-9a41-1983019c0634" providerId="ADAL" clId="{095A5938-E3E0-4926-845E-301A48DD14CF}" dt="2023-09-15T09:09:55.318" v="679" actId="962"/>
          <ac:grpSpMkLst>
            <pc:docMk/>
            <pc:sldMk cId="3156779651" sldId="284"/>
            <ac:grpSpMk id="31" creationId="{00000000-0000-0000-0000-000000000000}"/>
          </ac:grpSpMkLst>
        </pc:grpChg>
        <pc:picChg chg="del">
          <ac:chgData name="Michaelsen, Børje" userId="c36523e3-11ed-4011-9a41-1983019c0634" providerId="ADAL" clId="{095A5938-E3E0-4926-845E-301A48DD14CF}" dt="2023-09-01T08:28:02.366" v="262" actId="478"/>
          <ac:picMkLst>
            <pc:docMk/>
            <pc:sldMk cId="3156779651" sldId="284"/>
            <ac:picMk id="6" creationId="{00000000-0000-0000-0000-000000000000}"/>
          </ac:picMkLst>
        </pc:picChg>
        <pc:picChg chg="add mod ord">
          <ac:chgData name="Michaelsen, Børje" userId="c36523e3-11ed-4011-9a41-1983019c0634" providerId="ADAL" clId="{095A5938-E3E0-4926-845E-301A48DD14CF}" dt="2023-09-15T09:24:16.564" v="872"/>
          <ac:picMkLst>
            <pc:docMk/>
            <pc:sldMk cId="3156779651" sldId="284"/>
            <ac:picMk id="41" creationId="{CC13715A-9D1A-4490-8CDE-3A5AE80B68C5}"/>
          </ac:picMkLst>
        </pc:picChg>
        <pc:picChg chg="mod">
          <ac:chgData name="Michaelsen, Børje" userId="c36523e3-11ed-4011-9a41-1983019c0634" providerId="ADAL" clId="{095A5938-E3E0-4926-845E-301A48DD14CF}" dt="2023-09-15T09:09:39.238" v="678" actId="962"/>
          <ac:picMkLst>
            <pc:docMk/>
            <pc:sldMk cId="3156779651" sldId="284"/>
            <ac:picMk id="2050" creationId="{00000000-0000-0000-0000-000000000000}"/>
          </ac:picMkLst>
        </pc:picChg>
      </pc:sldChg>
      <pc:sldChg chg="addSp delSp modSp mod modNotesTx">
        <pc:chgData name="Michaelsen, Børje" userId="c36523e3-11ed-4011-9a41-1983019c0634" providerId="ADAL" clId="{095A5938-E3E0-4926-845E-301A48DD14CF}" dt="2023-09-25T11:21:48.724" v="1070" actId="962"/>
        <pc:sldMkLst>
          <pc:docMk/>
          <pc:sldMk cId="4268334138" sldId="285"/>
        </pc:sldMkLst>
        <pc:spChg chg="mod">
          <ac:chgData name="Michaelsen, Børje" userId="c36523e3-11ed-4011-9a41-1983019c0634" providerId="ADAL" clId="{095A5938-E3E0-4926-845E-301A48DD14CF}" dt="2023-09-25T11:21:27.029" v="1068" actId="20577"/>
          <ac:spMkLst>
            <pc:docMk/>
            <pc:sldMk cId="4268334138" sldId="285"/>
            <ac:spMk id="3" creationId="{0E208661-40B4-4483-9A05-FE473BED7235}"/>
          </ac:spMkLst>
        </pc:spChg>
        <pc:spChg chg="add mod">
          <ac:chgData name="Michaelsen, Børje" userId="c36523e3-11ed-4011-9a41-1983019c0634" providerId="ADAL" clId="{095A5938-E3E0-4926-845E-301A48DD14CF}" dt="2023-09-25T11:19:50.210" v="1018"/>
          <ac:spMkLst>
            <pc:docMk/>
            <pc:sldMk cId="4268334138" sldId="285"/>
            <ac:spMk id="4" creationId="{B2590F24-1A7C-059F-8EDB-DEC0C92C2D8A}"/>
          </ac:spMkLst>
        </pc:spChg>
        <pc:spChg chg="del">
          <ac:chgData name="Michaelsen, Børje" userId="c36523e3-11ed-4011-9a41-1983019c0634" providerId="ADAL" clId="{095A5938-E3E0-4926-845E-301A48DD14CF}" dt="2023-09-15T09:12:00.221" v="732" actId="478"/>
          <ac:spMkLst>
            <pc:docMk/>
            <pc:sldMk cId="4268334138" sldId="285"/>
            <ac:spMk id="7" creationId="{A6D52CC4-017C-4342-80C6-B635DE3CFF15}"/>
          </ac:spMkLst>
        </pc:spChg>
        <pc:spChg chg="ord">
          <ac:chgData name="Michaelsen, Børje" userId="c36523e3-11ed-4011-9a41-1983019c0634" providerId="ADAL" clId="{095A5938-E3E0-4926-845E-301A48DD14CF}" dt="2023-09-15T09:25:03.454" v="889"/>
          <ac:spMkLst>
            <pc:docMk/>
            <pc:sldMk cId="4268334138" sldId="285"/>
            <ac:spMk id="8" creationId="{00000000-0000-0000-0000-000000000000}"/>
          </ac:spMkLst>
        </pc:spChg>
        <pc:graphicFrameChg chg="del">
          <ac:chgData name="Michaelsen, Børje" userId="c36523e3-11ed-4011-9a41-1983019c0634" providerId="ADAL" clId="{095A5938-E3E0-4926-845E-301A48DD14CF}" dt="2023-09-13T14:08:09.438" v="604" actId="478"/>
          <ac:graphicFrameMkLst>
            <pc:docMk/>
            <pc:sldMk cId="4268334138" sldId="285"/>
            <ac:graphicFrameMk id="4" creationId="{00000000-0000-0000-0000-000000000000}"/>
          </ac:graphicFrameMkLst>
        </pc:graphicFrameChg>
        <pc:graphicFrameChg chg="add mod ord modGraphic">
          <ac:chgData name="Michaelsen, Børje" userId="c36523e3-11ed-4011-9a41-1983019c0634" providerId="ADAL" clId="{095A5938-E3E0-4926-845E-301A48DD14CF}" dt="2023-09-25T11:19:59.362" v="1042" actId="1036"/>
          <ac:graphicFrameMkLst>
            <pc:docMk/>
            <pc:sldMk cId="4268334138" sldId="285"/>
            <ac:graphicFrameMk id="5" creationId="{E5A7856B-C0DC-AD56-8FB6-1FFAA12273D3}"/>
          </ac:graphicFrameMkLst>
        </pc:graphicFrameChg>
        <pc:graphicFrameChg chg="add mod">
          <ac:chgData name="Michaelsen, Børje" userId="c36523e3-11ed-4011-9a41-1983019c0634" providerId="ADAL" clId="{095A5938-E3E0-4926-845E-301A48DD14CF}" dt="2023-09-25T11:21:48.724" v="1070" actId="962"/>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095A5938-E3E0-4926-845E-301A48DD14CF}" dt="2023-09-25T11:20:50.786" v="1044" actId="478"/>
          <ac:graphicFrameMkLst>
            <pc:docMk/>
            <pc:sldMk cId="4268334138" sldId="285"/>
            <ac:graphicFrameMk id="10" creationId="{00000000-0000-0000-0000-000000000000}"/>
          </ac:graphicFrameMkLst>
        </pc:graphicFrameChg>
      </pc:sldChg>
      <pc:sldChg chg="modSp del mod">
        <pc:chgData name="Michaelsen, Børje" userId="c36523e3-11ed-4011-9a41-1983019c0634" providerId="ADAL" clId="{095A5938-E3E0-4926-845E-301A48DD14CF}" dt="2023-10-10T08:22:03.288" v="1264" actId="47"/>
        <pc:sldMkLst>
          <pc:docMk/>
          <pc:sldMk cId="2226705274" sldId="286"/>
        </pc:sldMkLst>
        <pc:spChg chg="ord">
          <ac:chgData name="Michaelsen, Børje" userId="c36523e3-11ed-4011-9a41-1983019c0634" providerId="ADAL" clId="{095A5938-E3E0-4926-845E-301A48DD14CF}" dt="2023-09-15T09:27:21.919" v="924"/>
          <ac:spMkLst>
            <pc:docMk/>
            <pc:sldMk cId="2226705274" sldId="286"/>
            <ac:spMk id="8" creationId="{00000000-0000-0000-0000-000000000000}"/>
          </ac:spMkLst>
        </pc:spChg>
        <pc:spChg chg="ord">
          <ac:chgData name="Michaelsen, Børje" userId="c36523e3-11ed-4011-9a41-1983019c0634" providerId="ADAL" clId="{095A5938-E3E0-4926-845E-301A48DD14CF}" dt="2023-09-15T09:27:29.644" v="929"/>
          <ac:spMkLst>
            <pc:docMk/>
            <pc:sldMk cId="2226705274" sldId="286"/>
            <ac:spMk id="9" creationId="{00000000-0000-0000-0000-000000000000}"/>
          </ac:spMkLst>
        </pc:spChg>
        <pc:graphicFrameChg chg="ord modGraphic">
          <ac:chgData name="Michaelsen, Børje" userId="c36523e3-11ed-4011-9a41-1983019c0634" providerId="ADAL" clId="{095A5938-E3E0-4926-845E-301A48DD14CF}" dt="2023-09-15T09:27:32.357" v="931"/>
          <ac:graphicFrameMkLst>
            <pc:docMk/>
            <pc:sldMk cId="2226705274" sldId="286"/>
            <ac:graphicFrameMk id="2" creationId="{00000000-0000-0000-0000-000000000000}"/>
          </ac:graphicFrameMkLst>
        </pc:graphicFrameChg>
        <pc:graphicFrameChg chg="mod">
          <ac:chgData name="Michaelsen, Børje" userId="c36523e3-11ed-4011-9a41-1983019c0634" providerId="ADAL" clId="{095A5938-E3E0-4926-845E-301A48DD14CF}" dt="2023-09-15T09:27:26.483" v="927"/>
          <ac:graphicFrameMkLst>
            <pc:docMk/>
            <pc:sldMk cId="2226705274" sldId="286"/>
            <ac:graphicFrameMk id="11" creationId="{00000000-0008-0000-0200-000002000000}"/>
          </ac:graphicFrameMkLst>
        </pc:graphicFrameChg>
        <pc:picChg chg="mod">
          <ac:chgData name="Michaelsen, Børje" userId="c36523e3-11ed-4011-9a41-1983019c0634" providerId="ADAL" clId="{095A5938-E3E0-4926-845E-301A48DD14CF}" dt="2023-09-15T09:21:09.189" v="810" actId="962"/>
          <ac:picMkLst>
            <pc:docMk/>
            <pc:sldMk cId="2226705274" sldId="286"/>
            <ac:picMk id="5" creationId="{00000000-0000-0000-0000-000000000000}"/>
          </ac:picMkLst>
        </pc:picChg>
      </pc:sldChg>
      <pc:sldChg chg="addSp delSp modSp mod">
        <pc:chgData name="Michaelsen, Børje" userId="c36523e3-11ed-4011-9a41-1983019c0634" providerId="ADAL" clId="{095A5938-E3E0-4926-845E-301A48DD14CF}" dt="2023-09-22T09:26:46.780" v="1014"/>
        <pc:sldMkLst>
          <pc:docMk/>
          <pc:sldMk cId="2154520298" sldId="287"/>
        </pc:sldMkLst>
        <pc:spChg chg="mod">
          <ac:chgData name="Michaelsen, Børje" userId="c36523e3-11ed-4011-9a41-1983019c0634" providerId="ADAL" clId="{095A5938-E3E0-4926-845E-301A48DD14CF}" dt="2023-09-22T07:00:34.582" v="1011" actId="20577"/>
          <ac:spMkLst>
            <pc:docMk/>
            <pc:sldMk cId="2154520298" sldId="287"/>
            <ac:spMk id="10" creationId="{00000000-0000-0000-0000-000000000000}"/>
          </ac:spMkLst>
        </pc:spChg>
        <pc:picChg chg="del">
          <ac:chgData name="Michaelsen, Børje" userId="c36523e3-11ed-4011-9a41-1983019c0634" providerId="ADAL" clId="{095A5938-E3E0-4926-845E-301A48DD14CF}" dt="2023-09-22T07:00:17.245" v="989" actId="478"/>
          <ac:picMkLst>
            <pc:docMk/>
            <pc:sldMk cId="2154520298" sldId="287"/>
            <ac:picMk id="4" creationId="{0BAFA7FA-889B-C04A-0AC7-74432ADF39FB}"/>
          </ac:picMkLst>
        </pc:picChg>
        <pc:picChg chg="add mod ord">
          <ac:chgData name="Michaelsen, Børje" userId="c36523e3-11ed-4011-9a41-1983019c0634" providerId="ADAL" clId="{095A5938-E3E0-4926-845E-301A48DD14CF}" dt="2023-09-22T09:26:46.780" v="1014"/>
          <ac:picMkLst>
            <pc:docMk/>
            <pc:sldMk cId="2154520298" sldId="287"/>
            <ac:picMk id="5" creationId="{F64D38E7-2B38-C33E-F56C-ADFDE262CB33}"/>
          </ac:picMkLst>
        </pc:picChg>
      </pc:sldChg>
      <pc:sldChg chg="addSp delSp modSp mod">
        <pc:chgData name="Michaelsen, Børje" userId="c36523e3-11ed-4011-9a41-1983019c0634" providerId="ADAL" clId="{095A5938-E3E0-4926-845E-301A48DD14CF}" dt="2023-09-29T12:59:12.850" v="1259"/>
        <pc:sldMkLst>
          <pc:docMk/>
          <pc:sldMk cId="1736272724" sldId="289"/>
        </pc:sldMkLst>
        <pc:spChg chg="add mod">
          <ac:chgData name="Michaelsen, Børje" userId="c36523e3-11ed-4011-9a41-1983019c0634" providerId="ADAL" clId="{095A5938-E3E0-4926-845E-301A48DD14CF}" dt="2023-09-29T12:59:12.850" v="1259"/>
          <ac:spMkLst>
            <pc:docMk/>
            <pc:sldMk cId="1736272724" sldId="289"/>
            <ac:spMk id="7" creationId="{3BCB24F4-A2F7-01AF-6A4B-F20D0AEDD71E}"/>
          </ac:spMkLst>
        </pc:spChg>
        <pc:graphicFrameChg chg="add mod">
          <ac:chgData name="Michaelsen, Børje" userId="c36523e3-11ed-4011-9a41-1983019c0634" providerId="ADAL" clId="{095A5938-E3E0-4926-845E-301A48DD14CF}" dt="2023-09-15T09:19:00.391" v="766" actId="962"/>
          <ac:graphicFrameMkLst>
            <pc:docMk/>
            <pc:sldMk cId="1736272724" sldId="289"/>
            <ac:graphicFrameMk id="4" creationId="{00000000-0008-0000-0000-000002000000}"/>
          </ac:graphicFrameMkLst>
        </pc:graphicFrameChg>
        <pc:graphicFrameChg chg="add mod">
          <ac:chgData name="Michaelsen, Børje" userId="c36523e3-11ed-4011-9a41-1983019c0634" providerId="ADAL" clId="{095A5938-E3E0-4926-845E-301A48DD14CF}" dt="2023-09-15T09:19:12.841" v="768" actId="962"/>
          <ac:graphicFrameMkLst>
            <pc:docMk/>
            <pc:sldMk cId="1736272724" sldId="289"/>
            <ac:graphicFrameMk id="5" creationId="{00000000-0008-0000-0200-000002000000}"/>
          </ac:graphicFrameMkLst>
        </pc:graphicFrameChg>
        <pc:graphicFrameChg chg="add mod">
          <ac:chgData name="Michaelsen, Børje" userId="c36523e3-11ed-4011-9a41-1983019c0634" providerId="ADAL" clId="{095A5938-E3E0-4926-845E-301A48DD14CF}" dt="2023-09-15T09:26:12.956" v="903"/>
          <ac:graphicFrameMkLst>
            <pc:docMk/>
            <pc:sldMk cId="1736272724" sldId="289"/>
            <ac:graphicFrameMk id="6" creationId="{00000000-0008-0000-0000-000002000000}"/>
          </ac:graphicFrameMkLst>
        </pc:graphicFrameChg>
        <pc:graphicFrameChg chg="del">
          <ac:chgData name="Michaelsen, Børje" userId="c36523e3-11ed-4011-9a41-1983019c0634" providerId="ADAL" clId="{095A5938-E3E0-4926-845E-301A48DD14CF}" dt="2023-09-11T11:04:26.251" v="473" actId="478"/>
          <ac:graphicFrameMkLst>
            <pc:docMk/>
            <pc:sldMk cId="1736272724" sldId="289"/>
            <ac:graphicFrameMk id="7" creationId="{00000000-0000-0000-0000-000000000000}"/>
          </ac:graphicFrameMkLst>
        </pc:graphicFrameChg>
        <pc:graphicFrameChg chg="del">
          <ac:chgData name="Michaelsen, Børje" userId="c36523e3-11ed-4011-9a41-1983019c0634" providerId="ADAL" clId="{095A5938-E3E0-4926-845E-301A48DD14CF}" dt="2023-09-11T10:37:33.330" v="468" actId="478"/>
          <ac:graphicFrameMkLst>
            <pc:docMk/>
            <pc:sldMk cId="1736272724" sldId="289"/>
            <ac:graphicFrameMk id="9" creationId="{00000000-0000-0000-0000-000000000000}"/>
          </ac:graphicFrameMkLst>
        </pc:graphicFrameChg>
        <pc:graphicFrameChg chg="del">
          <ac:chgData name="Michaelsen, Børje" userId="c36523e3-11ed-4011-9a41-1983019c0634" providerId="ADAL" clId="{095A5938-E3E0-4926-845E-301A48DD14CF}" dt="2023-09-11T10:36:50.491" v="458" actId="478"/>
          <ac:graphicFrameMkLst>
            <pc:docMk/>
            <pc:sldMk cId="1736272724" sldId="289"/>
            <ac:graphicFrameMk id="12" creationId="{00000000-0000-0000-0000-000000000000}"/>
          </ac:graphicFrameMkLst>
        </pc:graphicFrameChg>
      </pc:sldChg>
      <pc:sldChg chg="addSp delSp modSp mod">
        <pc:chgData name="Michaelsen, Børje" userId="c36523e3-11ed-4011-9a41-1983019c0634" providerId="ADAL" clId="{095A5938-E3E0-4926-845E-301A48DD14CF}" dt="2023-09-15T09:23:43.997" v="856"/>
        <pc:sldMkLst>
          <pc:docMk/>
          <pc:sldMk cId="3663715429" sldId="292"/>
        </pc:sldMkLst>
        <pc:spChg chg="mod">
          <ac:chgData name="Michaelsen, Børje" userId="c36523e3-11ed-4011-9a41-1983019c0634" providerId="ADAL" clId="{095A5938-E3E0-4926-845E-301A48DD14CF}" dt="2023-09-15T09:23:15.365" v="836" actId="14100"/>
          <ac:spMkLst>
            <pc:docMk/>
            <pc:sldMk cId="3663715429" sldId="292"/>
            <ac:spMk id="2" creationId="{00000000-0000-0000-0000-000000000000}"/>
          </ac:spMkLst>
        </pc:spChg>
        <pc:spChg chg="add mod">
          <ac:chgData name="Michaelsen, Børje" userId="c36523e3-11ed-4011-9a41-1983019c0634" providerId="ADAL" clId="{095A5938-E3E0-4926-845E-301A48DD14CF}" dt="2023-09-08T10:27:07.064" v="457" actId="1038"/>
          <ac:spMkLst>
            <pc:docMk/>
            <pc:sldMk cId="3663715429" sldId="292"/>
            <ac:spMk id="5" creationId="{880070C5-FF4E-789B-81ED-9DE4648C451B}"/>
          </ac:spMkLst>
        </pc:spChg>
        <pc:spChg chg="add mod ord">
          <ac:chgData name="Michaelsen, Børje" userId="c36523e3-11ed-4011-9a41-1983019c0634" providerId="ADAL" clId="{095A5938-E3E0-4926-845E-301A48DD14CF}" dt="2023-09-15T09:23:43.997" v="856"/>
          <ac:spMkLst>
            <pc:docMk/>
            <pc:sldMk cId="3663715429" sldId="292"/>
            <ac:spMk id="6" creationId="{0DC9DFEF-E009-4FBA-57BE-2D1AA3F60B7E}"/>
          </ac:spMkLst>
        </pc:spChg>
        <pc:spChg chg="mod">
          <ac:chgData name="Michaelsen, Børje" userId="c36523e3-11ed-4011-9a41-1983019c0634" providerId="ADAL" clId="{095A5938-E3E0-4926-845E-301A48DD14CF}" dt="2023-09-08T10:25:09.687" v="428" actId="20577"/>
          <ac:spMkLst>
            <pc:docMk/>
            <pc:sldMk cId="3663715429" sldId="292"/>
            <ac:spMk id="7" creationId="{00000000-0000-0000-0000-000000000000}"/>
          </ac:spMkLst>
        </pc:spChg>
        <pc:spChg chg="mod">
          <ac:chgData name="Michaelsen, Børje" userId="c36523e3-11ed-4011-9a41-1983019c0634" providerId="ADAL" clId="{095A5938-E3E0-4926-845E-301A48DD14CF}" dt="2023-09-08T10:25:35.288" v="431" actId="20577"/>
          <ac:spMkLst>
            <pc:docMk/>
            <pc:sldMk cId="3663715429" sldId="292"/>
            <ac:spMk id="18" creationId="{00000000-0000-0000-0000-000000000000}"/>
          </ac:spMkLst>
        </pc:spChg>
        <pc:graphicFrameChg chg="add mod">
          <ac:chgData name="Michaelsen, Børje" userId="c36523e3-11ed-4011-9a41-1983019c0634" providerId="ADAL" clId="{095A5938-E3E0-4926-845E-301A48DD14CF}" dt="2023-09-15T09:23:39.702" v="853"/>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095A5938-E3E0-4926-845E-301A48DD14CF}" dt="2023-09-15T09:08:50.430" v="668" actId="962"/>
          <ac:graphicFrameMkLst>
            <pc:docMk/>
            <pc:sldMk cId="3663715429" sldId="292"/>
            <ac:graphicFrameMk id="4" creationId="{00000000-0008-0000-0300-000003000000}"/>
          </ac:graphicFrameMkLst>
        </pc:graphicFrameChg>
        <pc:graphicFrameChg chg="del">
          <ac:chgData name="Michaelsen, Børje" userId="c36523e3-11ed-4011-9a41-1983019c0634" providerId="ADAL" clId="{095A5938-E3E0-4926-845E-301A48DD14CF}" dt="2023-09-08T10:24:30.480" v="414" actId="478"/>
          <ac:graphicFrameMkLst>
            <pc:docMk/>
            <pc:sldMk cId="3663715429" sldId="292"/>
            <ac:graphicFrameMk id="10" creationId="{00000000-0000-0000-0000-000000000000}"/>
          </ac:graphicFrameMkLst>
        </pc:graphicFrameChg>
        <pc:graphicFrameChg chg="del">
          <ac:chgData name="Michaelsen, Børje" userId="c36523e3-11ed-4011-9a41-1983019c0634" providerId="ADAL" clId="{095A5938-E3E0-4926-845E-301A48DD14CF}" dt="2023-09-08T10:24:44.355" v="418" actId="478"/>
          <ac:graphicFrameMkLst>
            <pc:docMk/>
            <pc:sldMk cId="3663715429" sldId="292"/>
            <ac:graphicFrameMk id="11" creationId="{00000000-0000-0000-0000-000000000000}"/>
          </ac:graphicFrameMkLst>
        </pc:graphicFrameChg>
      </pc:sldChg>
      <pc:sldChg chg="delSp modSp add mod modNotesTx">
        <pc:chgData name="Michaelsen, Børje" userId="c36523e3-11ed-4011-9a41-1983019c0634" providerId="ADAL" clId="{095A5938-E3E0-4926-845E-301A48DD14CF}" dt="2023-09-15T09:27:12.340" v="922"/>
        <pc:sldMkLst>
          <pc:docMk/>
          <pc:sldMk cId="559240798" sldId="1093"/>
        </pc:sldMkLst>
        <pc:spChg chg="del">
          <ac:chgData name="Michaelsen, Børje" userId="c36523e3-11ed-4011-9a41-1983019c0634" providerId="ADAL" clId="{095A5938-E3E0-4926-845E-301A48DD14CF}" dt="2023-09-15T09:21:39.974" v="816" actId="478"/>
          <ac:spMkLst>
            <pc:docMk/>
            <pc:sldMk cId="559240798" sldId="1093"/>
            <ac:spMk id="2" creationId="{A9CA4F69-0A00-457E-97C8-8D999E84DC62}"/>
          </ac:spMkLst>
        </pc:spChg>
        <pc:spChg chg="del">
          <ac:chgData name="Michaelsen, Børje" userId="c36523e3-11ed-4011-9a41-1983019c0634" providerId="ADAL" clId="{095A5938-E3E0-4926-845E-301A48DD14CF}" dt="2023-09-15T09:26:58.957" v="916" actId="478"/>
          <ac:spMkLst>
            <pc:docMk/>
            <pc:sldMk cId="559240798" sldId="1093"/>
            <ac:spMk id="3" creationId="{3C75413D-B741-4BCE-8D4A-86EFA4899773}"/>
          </ac:spMkLst>
        </pc:spChg>
        <pc:spChg chg="mod ord">
          <ac:chgData name="Michaelsen, Børje" userId="c36523e3-11ed-4011-9a41-1983019c0634" providerId="ADAL" clId="{095A5938-E3E0-4926-845E-301A48DD14CF}" dt="2023-09-15T09:26:52.951" v="912"/>
          <ac:spMkLst>
            <pc:docMk/>
            <pc:sldMk cId="559240798" sldId="1093"/>
            <ac:spMk id="6" creationId="{E6AD9810-77AD-40A7-B695-CF94C0980126}"/>
          </ac:spMkLst>
        </pc:spChg>
        <pc:spChg chg="ord">
          <ac:chgData name="Michaelsen, Børje" userId="c36523e3-11ed-4011-9a41-1983019c0634" providerId="ADAL" clId="{095A5938-E3E0-4926-845E-301A48DD14CF}" dt="2023-09-15T09:27:07.819" v="919"/>
          <ac:spMkLst>
            <pc:docMk/>
            <pc:sldMk cId="559240798" sldId="1093"/>
            <ac:spMk id="13" creationId="{0CE86C2E-3F6D-47F7-BCB9-A448CABB2558}"/>
          </ac:spMkLst>
        </pc:spChg>
        <pc:picChg chg="ord">
          <ac:chgData name="Michaelsen, Børje" userId="c36523e3-11ed-4011-9a41-1983019c0634" providerId="ADAL" clId="{095A5938-E3E0-4926-845E-301A48DD14CF}" dt="2023-09-15T09:26:48.951" v="911"/>
          <ac:picMkLst>
            <pc:docMk/>
            <pc:sldMk cId="559240798" sldId="1093"/>
            <ac:picMk id="5" creationId="{ED8D46D5-65B2-4C20-A99F-362A277E9657}"/>
          </ac:picMkLst>
        </pc:picChg>
        <pc:picChg chg="mod ord">
          <ac:chgData name="Michaelsen, Børje" userId="c36523e3-11ed-4011-9a41-1983019c0634" providerId="ADAL" clId="{095A5938-E3E0-4926-845E-301A48DD14CF}" dt="2023-09-15T09:26:56.701" v="915"/>
          <ac:picMkLst>
            <pc:docMk/>
            <pc:sldMk cId="559240798" sldId="1093"/>
            <ac:picMk id="14" creationId="{8080EF34-50A9-1DE3-B0B8-FBD41B2E9961}"/>
          </ac:picMkLst>
        </pc:picChg>
        <pc:picChg chg="mod ord">
          <ac:chgData name="Michaelsen, Børje" userId="c36523e3-11ed-4011-9a41-1983019c0634" providerId="ADAL" clId="{095A5938-E3E0-4926-845E-301A48DD14CF}" dt="2023-09-15T09:27:04.765" v="917"/>
          <ac:picMkLst>
            <pc:docMk/>
            <pc:sldMk cId="559240798" sldId="1093"/>
            <ac:picMk id="15" creationId="{A6BFC4A7-909E-6E8E-3860-250A6E8C72ED}"/>
          </ac:picMkLst>
        </pc:picChg>
        <pc:picChg chg="mod">
          <ac:chgData name="Michaelsen, Børje" userId="c36523e3-11ed-4011-9a41-1983019c0634" providerId="ADAL" clId="{095A5938-E3E0-4926-845E-301A48DD14CF}" dt="2023-09-15T09:20:45.050" v="806" actId="962"/>
          <ac:picMkLst>
            <pc:docMk/>
            <pc:sldMk cId="559240798" sldId="1093"/>
            <ac:picMk id="16" creationId="{834FE4BA-C708-E7F8-3770-05E65E70B80E}"/>
          </ac:picMkLst>
        </pc:picChg>
        <pc:picChg chg="mod ord">
          <ac:chgData name="Michaelsen, Børje" userId="c36523e3-11ed-4011-9a41-1983019c0634" providerId="ADAL" clId="{095A5938-E3E0-4926-845E-301A48DD14CF}" dt="2023-09-15T09:27:12.340" v="922"/>
          <ac:picMkLst>
            <pc:docMk/>
            <pc:sldMk cId="559240798" sldId="1093"/>
            <ac:picMk id="17" creationId="{C6B1CA5E-F562-0946-E30A-94962ECCEB29}"/>
          </ac:picMkLst>
        </pc:picChg>
      </pc:sldChg>
      <pc:sldChg chg="addSp delSp modSp add mod">
        <pc:chgData name="Michaelsen, Børje" userId="c36523e3-11ed-4011-9a41-1983019c0634" providerId="ADAL" clId="{095A5938-E3E0-4926-845E-301A48DD14CF}" dt="2023-09-29T12:59:42.922" v="1262" actId="962"/>
        <pc:sldMkLst>
          <pc:docMk/>
          <pc:sldMk cId="2611775227" sldId="1095"/>
        </pc:sldMkLst>
        <pc:spChg chg="mod">
          <ac:chgData name="Michaelsen, Børje" userId="c36523e3-11ed-4011-9a41-1983019c0634" providerId="ADAL" clId="{095A5938-E3E0-4926-845E-301A48DD14CF}" dt="2023-09-26T07:51:09.318" v="1125" actId="20577"/>
          <ac:spMkLst>
            <pc:docMk/>
            <pc:sldMk cId="2611775227" sldId="1095"/>
            <ac:spMk id="4" creationId="{5E03F8CB-2FC6-6289-5575-EDBBBBB03428}"/>
          </ac:spMkLst>
        </pc:spChg>
        <pc:picChg chg="del">
          <ac:chgData name="Michaelsen, Børje" userId="c36523e3-11ed-4011-9a41-1983019c0634" providerId="ADAL" clId="{095A5938-E3E0-4926-845E-301A48DD14CF}" dt="2023-09-26T07:50:05.284" v="1072" actId="478"/>
          <ac:picMkLst>
            <pc:docMk/>
            <pc:sldMk cId="2611775227" sldId="1095"/>
            <ac:picMk id="5" creationId="{8FD902E4-DF3C-27ED-02C8-4A3F73E439EC}"/>
          </ac:picMkLst>
        </pc:picChg>
        <pc:picChg chg="add mod">
          <ac:chgData name="Michaelsen, Børje" userId="c36523e3-11ed-4011-9a41-1983019c0634" providerId="ADAL" clId="{095A5938-E3E0-4926-845E-301A48DD14CF}" dt="2023-09-29T12:59:42.922" v="1262" actId="962"/>
          <ac:picMkLst>
            <pc:docMk/>
            <pc:sldMk cId="2611775227" sldId="1095"/>
            <ac:picMk id="6" creationId="{9AE44981-240C-6A78-92EB-9713E968E2C8}"/>
          </ac:picMkLst>
        </pc:picChg>
      </pc:sldChg>
      <pc:sldChg chg="addSp delSp modSp add mod">
        <pc:chgData name="Michaelsen, Børje" userId="c36523e3-11ed-4011-9a41-1983019c0634" providerId="ADAL" clId="{095A5938-E3E0-4926-845E-301A48DD14CF}" dt="2023-10-10T08:25:59.977" v="1376" actId="13244"/>
        <pc:sldMkLst>
          <pc:docMk/>
          <pc:sldMk cId="1610994730" sldId="1096"/>
        </pc:sldMkLst>
        <pc:spChg chg="mod">
          <ac:chgData name="Michaelsen, Børje" userId="c36523e3-11ed-4011-9a41-1983019c0634" providerId="ADAL" clId="{095A5938-E3E0-4926-845E-301A48DD14CF}" dt="2023-10-10T08:22:59.005" v="1286" actId="20577"/>
          <ac:spMkLst>
            <pc:docMk/>
            <pc:sldMk cId="1610994730" sldId="1096"/>
            <ac:spMk id="7" creationId="{00000000-0000-0000-0000-000000000000}"/>
          </ac:spMkLst>
        </pc:spChg>
        <pc:spChg chg="mod">
          <ac:chgData name="Michaelsen, Børje" userId="c36523e3-11ed-4011-9a41-1983019c0634" providerId="ADAL" clId="{095A5938-E3E0-4926-845E-301A48DD14CF}" dt="2023-10-10T08:25:22.503" v="1373" actId="20577"/>
          <ac:spMkLst>
            <pc:docMk/>
            <pc:sldMk cId="1610994730" sldId="1096"/>
            <ac:spMk id="16" creationId="{01B63842-A613-4DE2-23CF-65894B874DE1}"/>
          </ac:spMkLst>
        </pc:spChg>
        <pc:graphicFrameChg chg="mod">
          <ac:chgData name="Michaelsen, Børje" userId="c36523e3-11ed-4011-9a41-1983019c0634" providerId="ADAL" clId="{095A5938-E3E0-4926-845E-301A48DD14CF}" dt="2023-10-10T08:23:41.447" v="1292" actId="14100"/>
          <ac:graphicFrameMkLst>
            <pc:docMk/>
            <pc:sldMk cId="1610994730" sldId="1096"/>
            <ac:graphicFrameMk id="12" creationId="{02F3DED4-52B2-ED4A-F002-268A294A1591}"/>
          </ac:graphicFrameMkLst>
        </pc:graphicFrameChg>
        <pc:picChg chg="del">
          <ac:chgData name="Michaelsen, Børje" userId="c36523e3-11ed-4011-9a41-1983019c0634" providerId="ADAL" clId="{095A5938-E3E0-4926-845E-301A48DD14CF}" dt="2023-10-10T08:23:24.060" v="1287" actId="478"/>
          <ac:picMkLst>
            <pc:docMk/>
            <pc:sldMk cId="1610994730" sldId="1096"/>
            <ac:picMk id="4" creationId="{F6835613-0859-555F-1993-ED905A26FCBC}"/>
          </ac:picMkLst>
        </pc:picChg>
        <pc:picChg chg="add mod ord">
          <ac:chgData name="Michaelsen, Børje" userId="c36523e3-11ed-4011-9a41-1983019c0634" providerId="ADAL" clId="{095A5938-E3E0-4926-845E-301A48DD14CF}" dt="2023-10-10T08:25:59.977" v="1376" actId="13244"/>
          <ac:picMkLst>
            <pc:docMk/>
            <pc:sldMk cId="1610994730" sldId="1096"/>
            <ac:picMk id="5" creationId="{09A42DB0-8287-CBF1-9138-C8B4D6204F0C}"/>
          </ac:picMkLst>
        </pc:picChg>
      </pc:sldChg>
    </pc:docChg>
  </pc:docChgLst>
  <pc:docChgLst>
    <pc:chgData name="Michaelsen, Børje" userId="c36523e3-11ed-4011-9a41-1983019c0634" providerId="ADAL" clId="{D5212509-4D94-43E3-9F9C-D36B08D599F3}"/>
    <pc:docChg chg="custSel modSld">
      <pc:chgData name="Michaelsen, Børje" userId="c36523e3-11ed-4011-9a41-1983019c0634" providerId="ADAL" clId="{D5212509-4D94-43E3-9F9C-D36B08D599F3}" dt="2024-11-11T09:34:33.914" v="46"/>
      <pc:docMkLst>
        <pc:docMk/>
      </pc:docMkLst>
      <pc:sldChg chg="addSp delSp modSp mod">
        <pc:chgData name="Michaelsen, Børje" userId="c36523e3-11ed-4011-9a41-1983019c0634" providerId="ADAL" clId="{D5212509-4D94-43E3-9F9C-D36B08D599F3}" dt="2024-10-29T18:55:40.539" v="14" actId="14100"/>
        <pc:sldMkLst>
          <pc:docMk/>
          <pc:sldMk cId="3237931907" sldId="263"/>
        </pc:sldMkLst>
        <pc:graphicFrameChg chg="add mod">
          <ac:chgData name="Michaelsen, Børje" userId="c36523e3-11ed-4011-9a41-1983019c0634" providerId="ADAL" clId="{D5212509-4D94-43E3-9F9C-D36B08D599F3}" dt="2024-10-29T18:55:14.445" v="10" actId="1076"/>
          <ac:graphicFrameMkLst>
            <pc:docMk/>
            <pc:sldMk cId="3237931907" sldId="263"/>
            <ac:graphicFrameMk id="3" creationId="{900796C7-9568-AA7D-48B1-D162673FAB3E}"/>
          </ac:graphicFrameMkLst>
        </pc:graphicFrameChg>
        <pc:graphicFrameChg chg="del">
          <ac:chgData name="Michaelsen, Børje" userId="c36523e3-11ed-4011-9a41-1983019c0634" providerId="ADAL" clId="{D5212509-4D94-43E3-9F9C-D36B08D599F3}" dt="2024-10-29T18:55:08.091" v="8" actId="478"/>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D5212509-4D94-43E3-9F9C-D36B08D599F3}" dt="2024-10-29T18:55:40.539" v="14" actId="14100"/>
          <ac:graphicFrameMkLst>
            <pc:docMk/>
            <pc:sldMk cId="3237931907" sldId="263"/>
            <ac:graphicFrameMk id="5" creationId="{E5C71C2E-AF53-CAD5-0770-CF80592B48C1}"/>
          </ac:graphicFrameMkLst>
        </pc:graphicFrameChg>
        <pc:graphicFrameChg chg="del">
          <ac:chgData name="Michaelsen, Børje" userId="c36523e3-11ed-4011-9a41-1983019c0634" providerId="ADAL" clId="{D5212509-4D94-43E3-9F9C-D36B08D599F3}" dt="2024-10-29T18:55:19.003" v="11"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D5212509-4D94-43E3-9F9C-D36B08D599F3}" dt="2024-10-29T18:56:52.262" v="18" actId="14100"/>
        <pc:sldMkLst>
          <pc:docMk/>
          <pc:sldMk cId="4110371661" sldId="275"/>
        </pc:sldMkLst>
        <pc:graphicFrameChg chg="add mod">
          <ac:chgData name="Michaelsen, Børje" userId="c36523e3-11ed-4011-9a41-1983019c0634" providerId="ADAL" clId="{D5212509-4D94-43E3-9F9C-D36B08D599F3}" dt="2024-10-29T18:56:52.262" v="18"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D5212509-4D94-43E3-9F9C-D36B08D599F3}" dt="2024-10-29T18:56:43.417" v="15"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D5212509-4D94-43E3-9F9C-D36B08D599F3}" dt="2024-10-29T18:57:21.450" v="21" actId="1076"/>
        <pc:sldMkLst>
          <pc:docMk/>
          <pc:sldMk cId="2721633966" sldId="277"/>
        </pc:sldMkLst>
        <pc:graphicFrameChg chg="add mod">
          <ac:chgData name="Michaelsen, Børje" userId="c36523e3-11ed-4011-9a41-1983019c0634" providerId="ADAL" clId="{D5212509-4D94-43E3-9F9C-D36B08D599F3}" dt="2024-10-29T18:57:21.450" v="21" actId="1076"/>
          <ac:graphicFrameMkLst>
            <pc:docMk/>
            <pc:sldMk cId="2721633966" sldId="277"/>
            <ac:graphicFrameMk id="5" creationId="{1E871170-F82D-1EDA-BE6F-558892AFB706}"/>
          </ac:graphicFrameMkLst>
        </pc:graphicFrameChg>
        <pc:graphicFrameChg chg="del">
          <ac:chgData name="Michaelsen, Børje" userId="c36523e3-11ed-4011-9a41-1983019c0634" providerId="ADAL" clId="{D5212509-4D94-43E3-9F9C-D36B08D599F3}" dt="2024-10-29T18:57:14.041" v="19" actId="478"/>
          <ac:graphicFrameMkLst>
            <pc:docMk/>
            <pc:sldMk cId="2721633966" sldId="277"/>
            <ac:graphicFrameMk id="6" creationId="{1E871170-F82D-1EDA-BE6F-558892AFB706}"/>
          </ac:graphicFrameMkLst>
        </pc:graphicFrameChg>
      </pc:sldChg>
      <pc:sldChg chg="addSp delSp modSp mod modNotesTx">
        <pc:chgData name="Michaelsen, Børje" userId="c36523e3-11ed-4011-9a41-1983019c0634" providerId="ADAL" clId="{D5212509-4D94-43E3-9F9C-D36B08D599F3}" dt="2024-11-11T09:34:33.914" v="46"/>
        <pc:sldMkLst>
          <pc:docMk/>
          <pc:sldMk cId="4206418978" sldId="283"/>
        </pc:sldMkLst>
        <pc:spChg chg="mod">
          <ac:chgData name="Michaelsen, Børje" userId="c36523e3-11ed-4011-9a41-1983019c0634" providerId="ADAL" clId="{D5212509-4D94-43E3-9F9C-D36B08D599F3}" dt="2024-11-11T09:33:44.171" v="39" actId="20577"/>
          <ac:spMkLst>
            <pc:docMk/>
            <pc:sldMk cId="4206418978" sldId="283"/>
            <ac:spMk id="12" creationId="{00000000-0000-0000-0000-000000000000}"/>
          </ac:spMkLst>
        </pc:spChg>
        <pc:graphicFrameChg chg="del">
          <ac:chgData name="Michaelsen, Børje" userId="c36523e3-11ed-4011-9a41-1983019c0634" providerId="ADAL" clId="{D5212509-4D94-43E3-9F9C-D36B08D599F3}" dt="2024-11-11T09:34:05.835" v="43" actId="478"/>
          <ac:graphicFrameMkLst>
            <pc:docMk/>
            <pc:sldMk cId="4206418978" sldId="283"/>
            <ac:graphicFrameMk id="2" creationId="{319D5D89-085C-D835-1272-7769952A07A3}"/>
          </ac:graphicFrameMkLst>
        </pc:graphicFrameChg>
        <pc:graphicFrameChg chg="add mod">
          <ac:chgData name="Michaelsen, Børje" userId="c36523e3-11ed-4011-9a41-1983019c0634" providerId="ADAL" clId="{D5212509-4D94-43E3-9F9C-D36B08D599F3}" dt="2024-11-11T09:34:33.914" v="46"/>
          <ac:graphicFrameMkLst>
            <pc:docMk/>
            <pc:sldMk cId="4206418978" sldId="283"/>
            <ac:graphicFrameMk id="4" creationId="{DCDE7847-CC60-4D80-2585-87D32DF03919}"/>
          </ac:graphicFrameMkLst>
        </pc:graphicFrameChg>
      </pc:sldChg>
      <pc:sldChg chg="addSp delSp modSp mod">
        <pc:chgData name="Michaelsen, Børje" userId="c36523e3-11ed-4011-9a41-1983019c0634" providerId="ADAL" clId="{D5212509-4D94-43E3-9F9C-D36B08D599F3}" dt="2024-10-29T18:54:39.107" v="7" actId="14100"/>
        <pc:sldMkLst>
          <pc:docMk/>
          <pc:sldMk cId="3663715429" sldId="292"/>
        </pc:sldMkLst>
        <pc:spChg chg="mod">
          <ac:chgData name="Michaelsen, Børje" userId="c36523e3-11ed-4011-9a41-1983019c0634" providerId="ADAL" clId="{D5212509-4D94-43E3-9F9C-D36B08D599F3}" dt="2024-10-29T18:53:48.013" v="2" actId="1076"/>
          <ac:spMkLst>
            <pc:docMk/>
            <pc:sldMk cId="3663715429" sldId="292"/>
            <ac:spMk id="5" creationId="{880070C5-FF4E-789B-81ED-9DE4648C451B}"/>
          </ac:spMkLst>
        </pc:spChg>
        <pc:graphicFrameChg chg="add mod">
          <ac:chgData name="Michaelsen, Børje" userId="c36523e3-11ed-4011-9a41-1983019c0634" providerId="ADAL" clId="{D5212509-4D94-43E3-9F9C-D36B08D599F3}" dt="2024-10-29T18:53:57.890" v="3" actId="1076"/>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D5212509-4D94-43E3-9F9C-D36B08D599F3}" dt="2024-10-29T18:54:39.107" v="7" actId="14100"/>
          <ac:graphicFrameMkLst>
            <pc:docMk/>
            <pc:sldMk cId="3663715429" sldId="292"/>
            <ac:graphicFrameMk id="4" creationId="{00000000-0008-0000-0300-000003000000}"/>
          </ac:graphicFrameMkLst>
        </pc:graphicFrameChg>
        <pc:graphicFrameChg chg="del">
          <ac:chgData name="Michaelsen, Børje" userId="c36523e3-11ed-4011-9a41-1983019c0634" providerId="ADAL" clId="{D5212509-4D94-43E3-9F9C-D36B08D599F3}" dt="2024-10-29T18:53:39.966" v="0" actId="478"/>
          <ac:graphicFrameMkLst>
            <pc:docMk/>
            <pc:sldMk cId="3663715429" sldId="292"/>
            <ac:graphicFrameMk id="8" creationId="{00000000-0008-0000-0100-000002000000}"/>
          </ac:graphicFrameMkLst>
        </pc:graphicFrameChg>
        <pc:graphicFrameChg chg="del">
          <ac:chgData name="Michaelsen, Børje" userId="c36523e3-11ed-4011-9a41-1983019c0634" providerId="ADAL" clId="{D5212509-4D94-43E3-9F9C-D36B08D599F3}" dt="2024-10-29T18:54:01.103" v="4" actId="478"/>
          <ac:graphicFrameMkLst>
            <pc:docMk/>
            <pc:sldMk cId="3663715429" sldId="292"/>
            <ac:graphicFrameMk id="9" creationId="{00000000-0008-0000-0300-000003000000}"/>
          </ac:graphicFrameMkLst>
        </pc:graphicFrameChg>
      </pc:sldChg>
    </pc:docChg>
  </pc:docChgLst>
  <pc:docChgLst>
    <pc:chgData name="Lindaas, Gunnar Ogwyn" userId="9f116345-df17-4e62-ba90-3f104129b024" providerId="ADAL" clId="{4D22DD4A-E2E2-4FF0-9EB1-8515650CFC77}"/>
    <pc:docChg chg="modSld">
      <pc:chgData name="Lindaas, Gunnar Ogwyn" userId="9f116345-df17-4e62-ba90-3f104129b024" providerId="ADAL" clId="{4D22DD4A-E2E2-4FF0-9EB1-8515650CFC77}" dt="2022-08-16T16:42:16.780" v="16" actId="20577"/>
      <pc:docMkLst>
        <pc:docMk/>
      </pc:docMkLst>
      <pc:sldChg chg="modSp mod">
        <pc:chgData name="Lindaas, Gunnar Ogwyn" userId="9f116345-df17-4e62-ba90-3f104129b024" providerId="ADAL" clId="{4D22DD4A-E2E2-4FF0-9EB1-8515650CFC77}" dt="2022-08-16T16:42:16.780" v="16" actId="20577"/>
        <pc:sldMkLst>
          <pc:docMk/>
          <pc:sldMk cId="2044844844" sldId="273"/>
        </pc:sldMkLst>
        <pc:spChg chg="mod">
          <ac:chgData name="Lindaas, Gunnar Ogwyn" userId="9f116345-df17-4e62-ba90-3f104129b024" providerId="ADAL" clId="{4D22DD4A-E2E2-4FF0-9EB1-8515650CFC77}" dt="2022-08-16T16:42:16.780" v="16" actId="20577"/>
          <ac:spMkLst>
            <pc:docMk/>
            <pc:sldMk cId="2044844844" sldId="273"/>
            <ac:spMk id="5" creationId="{00000000-0000-0000-0000-000000000000}"/>
          </ac:spMkLst>
        </pc:sp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4.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xlsx"/></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6.bin"/></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2</c:v>
                </c:pt>
                <c:pt idx="1">
                  <c:v>1</c:v>
                </c:pt>
                <c:pt idx="2">
                  <c:v>2</c:v>
                </c:pt>
                <c:pt idx="3">
                  <c:v>0</c:v>
                </c:pt>
                <c:pt idx="4">
                  <c:v>3</c:v>
                </c:pt>
                <c:pt idx="5">
                  <c:v>1</c:v>
                </c:pt>
              </c:numCache>
            </c:numRef>
          </c:val>
          <c:extLst>
            <c:ext xmlns:c16="http://schemas.microsoft.com/office/drawing/2014/chart" uri="{C3380CC4-5D6E-409C-BE32-E72D297353CC}">
              <c16:uniqueId val="{00000000-D732-42A2-AB84-4DCE7FD03A50}"/>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4</c:v>
                </c:pt>
                <c:pt idx="1">
                  <c:v>0</c:v>
                </c:pt>
                <c:pt idx="2">
                  <c:v>3</c:v>
                </c:pt>
                <c:pt idx="3">
                  <c:v>3</c:v>
                </c:pt>
                <c:pt idx="4">
                  <c:v>12</c:v>
                </c:pt>
                <c:pt idx="5">
                  <c:v>6</c:v>
                </c:pt>
              </c:numCache>
            </c:numRef>
          </c:val>
          <c:extLst>
            <c:ext xmlns:c16="http://schemas.microsoft.com/office/drawing/2014/chart" uri="{C3380CC4-5D6E-409C-BE32-E72D297353CC}">
              <c16:uniqueId val="{00000001-D732-42A2-AB84-4DCE7FD03A50}"/>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0</c:v>
                </c:pt>
                <c:pt idx="2">
                  <c:v>0</c:v>
                </c:pt>
                <c:pt idx="3">
                  <c:v>0</c:v>
                </c:pt>
                <c:pt idx="4">
                  <c:v>4</c:v>
                </c:pt>
                <c:pt idx="5">
                  <c:v>0</c:v>
                </c:pt>
              </c:numCache>
            </c:numRef>
          </c:val>
          <c:extLst>
            <c:ext xmlns:c16="http://schemas.microsoft.com/office/drawing/2014/chart" uri="{C3380CC4-5D6E-409C-BE32-E72D297353CC}">
              <c16:uniqueId val="{00000002-D732-42A2-AB84-4DCE7FD03A50}"/>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732-42A2-AB84-4DCE7FD03A50}"/>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732-42A2-AB84-4DCE7FD03A5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2</c:v>
                </c:pt>
                <c:pt idx="2">
                  <c:v>0</c:v>
                </c:pt>
                <c:pt idx="3">
                  <c:v>0</c:v>
                </c:pt>
                <c:pt idx="4">
                  <c:v>0</c:v>
                </c:pt>
                <c:pt idx="5">
                  <c:v>0</c:v>
                </c:pt>
              </c:numCache>
            </c:numRef>
          </c:val>
          <c:extLst>
            <c:ext xmlns:c16="http://schemas.microsoft.com/office/drawing/2014/chart" uri="{C3380CC4-5D6E-409C-BE32-E72D297353CC}">
              <c16:uniqueId val="{00000005-D732-42A2-AB84-4DCE7FD03A50}"/>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7.599999999999994</c:v>
                </c:pt>
                <c:pt idx="1">
                  <c:v>76.099999999999994</c:v>
                </c:pt>
                <c:pt idx="2">
                  <c:v>40.799999999999997</c:v>
                </c:pt>
                <c:pt idx="3">
                  <c:v>40.700000000000003</c:v>
                </c:pt>
              </c:numCache>
            </c:numRef>
          </c:val>
          <c:extLst>
            <c:ext xmlns:c16="http://schemas.microsoft.com/office/drawing/2014/chart" uri="{C3380CC4-5D6E-409C-BE32-E72D297353CC}">
              <c16:uniqueId val="{00000000-37D8-4557-9BEB-4E6445078954}"/>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68</c:v>
                </c:pt>
                <c:pt idx="1">
                  <c:v>76.8</c:v>
                </c:pt>
                <c:pt idx="2">
                  <c:v>34</c:v>
                </c:pt>
                <c:pt idx="3">
                  <c:v>50</c:v>
                </c:pt>
              </c:numCache>
            </c:numRef>
          </c:val>
          <c:extLst>
            <c:ext xmlns:c16="http://schemas.microsoft.com/office/drawing/2014/chart" uri="{C3380CC4-5D6E-409C-BE32-E72D297353CC}">
              <c16:uniqueId val="{00000001-37D8-4557-9BEB-4E6445078954}"/>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67.900000000000006</c:v>
                </c:pt>
                <c:pt idx="1">
                  <c:v>75.900000000000006</c:v>
                </c:pt>
                <c:pt idx="2">
                  <c:v>40</c:v>
                </c:pt>
                <c:pt idx="3">
                  <c:v>55.8</c:v>
                </c:pt>
              </c:numCache>
            </c:numRef>
          </c:val>
          <c:extLst>
            <c:ext xmlns:c16="http://schemas.microsoft.com/office/drawing/2014/chart" uri="{C3380CC4-5D6E-409C-BE32-E72D297353CC}">
              <c16:uniqueId val="{00000002-37D8-4557-9BEB-4E6445078954}"/>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67</c:v>
                </c:pt>
                <c:pt idx="1">
                  <c:v>75.900000000000006</c:v>
                </c:pt>
                <c:pt idx="2">
                  <c:v>46</c:v>
                </c:pt>
                <c:pt idx="3">
                  <c:v>47.5</c:v>
                </c:pt>
              </c:numCache>
            </c:numRef>
          </c:val>
          <c:extLst>
            <c:ext xmlns:c16="http://schemas.microsoft.com/office/drawing/2014/chart" uri="{C3380CC4-5D6E-409C-BE32-E72D297353CC}">
              <c16:uniqueId val="{00000003-37D8-4557-9BEB-4E6445078954}"/>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3"/>
          </a:solidFill>
          <a:ln>
            <a:noFill/>
          </a:ln>
          <a:effectLst/>
        </c:spPr>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3"/>
          </a:solidFill>
          <a:ln>
            <a:noFill/>
          </a:ln>
          <a:effectLst/>
        </c:spPr>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3"/>
          </a:solidFill>
          <a:ln>
            <a:noFill/>
          </a:ln>
          <a:effectLst/>
        </c:spPr>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3"/>
          </a:solidFill>
          <a:ln>
            <a:noFill/>
          </a:ln>
          <a:effectLst/>
        </c:spPr>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3"/>
          </a:solidFill>
          <a:ln>
            <a:noFill/>
          </a:ln>
          <a:effectLst/>
        </c:spPr>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3"/>
          </a:solidFill>
          <a:ln>
            <a:noFill/>
          </a:ln>
          <a:effectLst/>
        </c:spPr>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3"/>
          </a:solidFill>
          <a:ln>
            <a:noFill/>
          </a:ln>
          <a:effectLst/>
        </c:spPr>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3"/>
          </a:solidFill>
          <a:ln>
            <a:noFill/>
          </a:ln>
          <a:effectLst/>
        </c:spPr>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5"/>
        <c:spPr>
          <a:solidFill>
            <a:schemeClr val="accent3"/>
          </a:solidFill>
          <a:ln>
            <a:noFill/>
          </a:ln>
          <a:effectLst/>
        </c:spPr>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6"/>
        <c:spPr>
          <a:solidFill>
            <a:schemeClr val="accent3"/>
          </a:solidFill>
          <a:ln>
            <a:noFill/>
          </a:ln>
          <a:effectLst/>
        </c:spPr>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5B70-4278-9EC1-FEB244EF0049}"/>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5B70-4278-9EC1-FEB244EF0049}"/>
            </c:ext>
          </c:extLst>
        </c:ser>
        <c:ser>
          <c:idx val="2"/>
          <c:order val="2"/>
          <c:tx>
            <c:strRef>
              <c:f>Pivot_2022!$D$3:$D$4</c:f>
              <c:strCache>
                <c:ptCount val="1"/>
                <c:pt idx="0">
                  <c:v>Gjerstad</c:v>
                </c:pt>
              </c:strCache>
            </c:strRef>
          </c:tx>
          <c:spPr>
            <a:solidFill>
              <a:schemeClr val="accent3"/>
            </a:solidFill>
            <a:ln>
              <a:noFill/>
            </a:ln>
            <a:effectLst/>
          </c:spPr>
          <c:invertIfNegative val="0"/>
          <c:dLbls>
            <c:dLbl>
              <c:idx val="0"/>
              <c:layout>
                <c:manualLayout>
                  <c:x val="9.3001616177692016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30C-425C-BD9D-6A60D34124CE}"/>
                </c:ext>
              </c:extLst>
            </c:dLbl>
            <c:dLbl>
              <c:idx val="1"/>
              <c:layout>
                <c:manualLayout>
                  <c:x val="9.3001616177691877E-3"/>
                  <c:y val="-9.784733299245137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30C-425C-BD9D-6A60D34124CE}"/>
                </c:ext>
              </c:extLst>
            </c:dLbl>
            <c:dLbl>
              <c:idx val="5"/>
              <c:layout>
                <c:manualLayout>
                  <c:x val="9.3001616177691027E-3"/>
                  <c:y val="-6.5231555328300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30C-425C-BD9D-6A60D34124CE}"/>
                </c:ext>
              </c:extLst>
            </c:dLbl>
            <c:dLbl>
              <c:idx val="6"/>
              <c:layout>
                <c:manualLayout>
                  <c:x val="1.3950242426653823E-2"/>
                  <c:y val="3.26157776641507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30C-425C-BD9D-6A60D34124CE}"/>
                </c:ext>
              </c:extLst>
            </c:dLbl>
            <c:dLbl>
              <c:idx val="7"/>
              <c:layout>
                <c:manualLayout>
                  <c:x val="1.085018855406408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30C-425C-BD9D-6A60D34124CE}"/>
                </c:ext>
              </c:extLst>
            </c:dLbl>
            <c:dLbl>
              <c:idx val="8"/>
              <c:layout>
                <c:manualLayout>
                  <c:x val="1.2400215490358954E-2"/>
                  <c:y val="-9.784733299245167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0C-425C-BD9D-6A60D34124CE}"/>
                </c:ext>
              </c:extLst>
            </c:dLbl>
            <c:dLbl>
              <c:idx val="9"/>
              <c:layout>
                <c:manualLayout>
                  <c:x val="7.7501346814742326E-3"/>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30C-425C-BD9D-6A60D34124C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8.6999999999999994E-2</c:v>
                </c:pt>
                <c:pt idx="1">
                  <c:v>8.900000000000001E-2</c:v>
                </c:pt>
                <c:pt idx="2">
                  <c:v>9.8000000000000004E-2</c:v>
                </c:pt>
                <c:pt idx="3">
                  <c:v>0.105</c:v>
                </c:pt>
                <c:pt idx="4">
                  <c:v>0.113</c:v>
                </c:pt>
                <c:pt idx="5">
                  <c:v>9.8000000000000004E-2</c:v>
                </c:pt>
                <c:pt idx="6">
                  <c:v>0.10800000000000001</c:v>
                </c:pt>
                <c:pt idx="7">
                  <c:v>0.10099999999999999</c:v>
                </c:pt>
                <c:pt idx="8">
                  <c:v>0.111</c:v>
                </c:pt>
                <c:pt idx="9">
                  <c:v>0.111</c:v>
                </c:pt>
                <c:pt idx="10">
                  <c:v>0.115</c:v>
                </c:pt>
              </c:numCache>
            </c:numRef>
          </c:val>
          <c:extLst>
            <c:ext xmlns:c16="http://schemas.microsoft.com/office/drawing/2014/chart" uri="{C3380CC4-5D6E-409C-BE32-E72D297353CC}">
              <c16:uniqueId val="{00000009-5B70-4278-9EC1-FEB244EF0049}"/>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7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41</c:v>
                </c:pt>
                <c:pt idx="1">
                  <c:v>34</c:v>
                </c:pt>
                <c:pt idx="2">
                  <c:v>23</c:v>
                </c:pt>
                <c:pt idx="3">
                  <c:v>43</c:v>
                </c:pt>
                <c:pt idx="4">
                  <c:v>27</c:v>
                </c:pt>
                <c:pt idx="5">
                  <c:v>24</c:v>
                </c:pt>
                <c:pt idx="6">
                  <c:v>28</c:v>
                </c:pt>
                <c:pt idx="7">
                  <c:v>25</c:v>
                </c:pt>
                <c:pt idx="8">
                  <c:v>27</c:v>
                </c:pt>
                <c:pt idx="9">
                  <c:v>26</c:v>
                </c:pt>
                <c:pt idx="10">
                  <c:v>32</c:v>
                </c:pt>
                <c:pt idx="11">
                  <c:v>24</c:v>
                </c:pt>
                <c:pt idx="12">
                  <c:v>18</c:v>
                </c:pt>
                <c:pt idx="13">
                  <c:v>22</c:v>
                </c:pt>
                <c:pt idx="14">
                  <c:v>34</c:v>
                </c:pt>
                <c:pt idx="15">
                  <c:v>21</c:v>
                </c:pt>
                <c:pt idx="16">
                  <c:v>22</c:v>
                </c:pt>
                <c:pt idx="17">
                  <c:v>34</c:v>
                </c:pt>
                <c:pt idx="18">
                  <c:v>14</c:v>
                </c:pt>
                <c:pt idx="19">
                  <c:v>27</c:v>
                </c:pt>
                <c:pt idx="20">
                  <c:v>21</c:v>
                </c:pt>
                <c:pt idx="21">
                  <c:v>17</c:v>
                </c:pt>
              </c:numCache>
            </c:numRef>
          </c:val>
          <c:smooth val="0"/>
          <c:extLst>
            <c:ext xmlns:c16="http://schemas.microsoft.com/office/drawing/2014/chart" uri="{C3380CC4-5D6E-409C-BE32-E72D297353CC}">
              <c16:uniqueId val="{00000000-B523-4530-B435-073744D31BA0}"/>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5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2.8</c:v>
                </c:pt>
                <c:pt idx="1">
                  <c:v>1.4</c:v>
                </c:pt>
                <c:pt idx="2">
                  <c:v>1.7</c:v>
                </c:pt>
                <c:pt idx="3">
                  <c:v>0.5</c:v>
                </c:pt>
                <c:pt idx="4">
                  <c:v>1</c:v>
                </c:pt>
                <c:pt idx="5">
                  <c:v>2.5</c:v>
                </c:pt>
                <c:pt idx="6">
                  <c:v>1.5</c:v>
                </c:pt>
                <c:pt idx="7">
                  <c:v>0.7</c:v>
                </c:pt>
                <c:pt idx="8">
                  <c:v>1.1000000000000001</c:v>
                </c:pt>
                <c:pt idx="9">
                  <c:v>1.7</c:v>
                </c:pt>
                <c:pt idx="10">
                  <c:v>0.6</c:v>
                </c:pt>
                <c:pt idx="11">
                  <c:v>2.4</c:v>
                </c:pt>
                <c:pt idx="12">
                  <c:v>2</c:v>
                </c:pt>
                <c:pt idx="13">
                  <c:v>0.6</c:v>
                </c:pt>
                <c:pt idx="14">
                  <c:v>0.5</c:v>
                </c:pt>
                <c:pt idx="15">
                  <c:v>0.3</c:v>
                </c:pt>
                <c:pt idx="16">
                  <c:v>0.5</c:v>
                </c:pt>
                <c:pt idx="17">
                  <c:v>1.5</c:v>
                </c:pt>
                <c:pt idx="18">
                  <c:v>0.6</c:v>
                </c:pt>
                <c:pt idx="19">
                  <c:v>1.9</c:v>
                </c:pt>
                <c:pt idx="20">
                  <c:v>0.5</c:v>
                </c:pt>
              </c:numCache>
            </c:numRef>
          </c:val>
          <c:extLst>
            <c:ext xmlns:c16="http://schemas.microsoft.com/office/drawing/2014/chart" uri="{C3380CC4-5D6E-409C-BE32-E72D297353CC}">
              <c16:uniqueId val="{00000000-18D8-4572-B77F-31686CF769D4}"/>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5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36.4</c:v>
                </c:pt>
                <c:pt idx="1">
                  <c:v>56.3</c:v>
                </c:pt>
                <c:pt idx="2">
                  <c:v>52.6</c:v>
                </c:pt>
                <c:pt idx="3">
                  <c:v>79.2</c:v>
                </c:pt>
                <c:pt idx="4">
                  <c:v>76.2</c:v>
                </c:pt>
                <c:pt idx="5">
                  <c:v>54.2</c:v>
                </c:pt>
                <c:pt idx="6">
                  <c:v>61.1</c:v>
                </c:pt>
                <c:pt idx="7">
                  <c:v>73.900000000000006</c:v>
                </c:pt>
                <c:pt idx="8">
                  <c:v>81</c:v>
                </c:pt>
                <c:pt idx="9">
                  <c:v>65.5</c:v>
                </c:pt>
                <c:pt idx="10">
                  <c:v>87</c:v>
                </c:pt>
                <c:pt idx="11">
                  <c:v>65</c:v>
                </c:pt>
                <c:pt idx="12">
                  <c:v>57</c:v>
                </c:pt>
                <c:pt idx="13">
                  <c:v>83</c:v>
                </c:pt>
                <c:pt idx="14">
                  <c:v>85</c:v>
                </c:pt>
                <c:pt idx="15">
                  <c:v>85</c:v>
                </c:pt>
                <c:pt idx="16">
                  <c:v>84</c:v>
                </c:pt>
                <c:pt idx="17">
                  <c:v>84.2</c:v>
                </c:pt>
                <c:pt idx="18">
                  <c:v>82</c:v>
                </c:pt>
                <c:pt idx="19">
                  <c:v>63</c:v>
                </c:pt>
                <c:pt idx="20">
                  <c:v>88</c:v>
                </c:pt>
              </c:numCache>
            </c:numRef>
          </c:val>
          <c:extLst>
            <c:ext xmlns:c16="http://schemas.microsoft.com/office/drawing/2014/chart" uri="{C3380CC4-5D6E-409C-BE32-E72D297353CC}">
              <c16:uniqueId val="{00000000-C07E-49C6-8745-9DCB2606D237}"/>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64"/>
  </c:pivotSource>
  <c:chart>
    <c:title>
      <c:tx>
        <c:strRef>
          <c:f>'4. Pivot'!$B$2</c:f>
          <c:strCache>
            <c:ptCount val="1"/>
            <c:pt idx="0">
              <c:v>Gjersta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19892.944270409338</c:v>
                </c:pt>
                <c:pt idx="1">
                  <c:v>19794.752323407331</c:v>
                </c:pt>
                <c:pt idx="2">
                  <c:v>19696.560376405319</c:v>
                </c:pt>
                <c:pt idx="3">
                  <c:v>19679.572711403209</c:v>
                </c:pt>
                <c:pt idx="4">
                  <c:v>19662.585046401095</c:v>
                </c:pt>
                <c:pt idx="5">
                  <c:v>19934.395369337264</c:v>
                </c:pt>
                <c:pt idx="6">
                  <c:v>20206.205692273434</c:v>
                </c:pt>
                <c:pt idx="7">
                  <c:v>19605.291977536781</c:v>
                </c:pt>
                <c:pt idx="8">
                  <c:v>18231.368085449518</c:v>
                </c:pt>
                <c:pt idx="9">
                  <c:v>19734.865822249027</c:v>
                </c:pt>
                <c:pt idx="10">
                  <c:v>18763.888555858939</c:v>
                </c:pt>
                <c:pt idx="11">
                  <c:v>18694.881000768215</c:v>
                </c:pt>
                <c:pt idx="12">
                  <c:v>18985.568537670846</c:v>
                </c:pt>
                <c:pt idx="13">
                  <c:v>18635.897629466293</c:v>
                </c:pt>
              </c:numCache>
            </c:numRef>
          </c:val>
          <c:smooth val="0"/>
          <c:extLst>
            <c:ext xmlns:c16="http://schemas.microsoft.com/office/drawing/2014/chart" uri="{C3380CC4-5D6E-409C-BE32-E72D297353CC}">
              <c16:uniqueId val="{00000000-8E72-4AF5-B182-8F9929218662}"/>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18635.897629466293</c:v>
                </c:pt>
                <c:pt idx="14" formatCode="#,##0">
                  <c:v>17143.261315347128</c:v>
                </c:pt>
                <c:pt idx="15" formatCode="#,##0">
                  <c:v>16487.232641182356</c:v>
                </c:pt>
                <c:pt idx="16" formatCode="#,##0">
                  <c:v>15802.643365309725</c:v>
                </c:pt>
                <c:pt idx="17" formatCode="#,##0">
                  <c:v>15141.580396878762</c:v>
                </c:pt>
                <c:pt idx="18" formatCode="#,##0">
                  <c:v>14485.55172271399</c:v>
                </c:pt>
                <c:pt idx="19" formatCode="#,##0">
                  <c:v>14033.363866799798</c:v>
                </c:pt>
                <c:pt idx="20" formatCode="#,##0">
                  <c:v>13611.46625780754</c:v>
                </c:pt>
                <c:pt idx="21" formatCode="#,##0">
                  <c:v>12955.437583642764</c:v>
                </c:pt>
              </c:numCache>
            </c:numRef>
          </c:val>
          <c:smooth val="0"/>
          <c:extLst>
            <c:ext xmlns:c16="http://schemas.microsoft.com/office/drawing/2014/chart" uri="{C3380CC4-5D6E-409C-BE32-E72D297353CC}">
              <c16:uniqueId val="{00000001-8E72-4AF5-B182-8F9929218662}"/>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42CB-473B-A0D3-F196A50C66C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2.4672147565943069E-2</c:v>
                </c:pt>
                <c:pt idx="1">
                  <c:v>0</c:v>
                </c:pt>
                <c:pt idx="2" formatCode="###0.000\ %_ ;_*\-###0.000\ %_ ;_*&quot;-&quot;">
                  <c:v>0</c:v>
                </c:pt>
                <c:pt idx="3">
                  <c:v>1</c:v>
                </c:pt>
                <c:pt idx="4">
                  <c:v>0.9070032765855468</c:v>
                </c:pt>
                <c:pt idx="5">
                  <c:v>0.3519215773529597</c:v>
                </c:pt>
              </c:numCache>
            </c:numRef>
          </c:val>
          <c:extLst>
            <c:ext xmlns:c16="http://schemas.microsoft.com/office/drawing/2014/chart" uri="{C3380CC4-5D6E-409C-BE32-E72D297353CC}">
              <c16:uniqueId val="{00000001-42CB-473B-A0D3-F196A50C66C9}"/>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42CB-473B-A0D3-F196A50C66C9}"/>
                </c:ext>
              </c:extLst>
            </c:dLbl>
            <c:dLbl>
              <c:idx val="2"/>
              <c:delete val="1"/>
              <c:extLst>
                <c:ext xmlns:c15="http://schemas.microsoft.com/office/drawing/2012/chart" uri="{CE6537A1-D6FC-4f65-9D91-7224C49458BB}"/>
                <c:ext xmlns:c16="http://schemas.microsoft.com/office/drawing/2014/chart" uri="{C3380CC4-5D6E-409C-BE32-E72D297353CC}">
                  <c16:uniqueId val="{00000003-42CB-473B-A0D3-F196A50C66C9}"/>
                </c:ext>
              </c:extLst>
            </c:dLbl>
            <c:dLbl>
              <c:idx val="3"/>
              <c:delete val="1"/>
              <c:extLst>
                <c:ext xmlns:c15="http://schemas.microsoft.com/office/drawing/2012/chart" uri="{CE6537A1-D6FC-4f65-9D91-7224C49458BB}"/>
                <c:ext xmlns:c16="http://schemas.microsoft.com/office/drawing/2014/chart" uri="{C3380CC4-5D6E-409C-BE32-E72D297353CC}">
                  <c16:uniqueId val="{00000004-42CB-473B-A0D3-F196A50C66C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309734207397703</c:v>
                </c:pt>
                <c:pt idx="1">
                  <c:v>0</c:v>
                </c:pt>
                <c:pt idx="2">
                  <c:v>0</c:v>
                </c:pt>
                <c:pt idx="3">
                  <c:v>0</c:v>
                </c:pt>
                <c:pt idx="4">
                  <c:v>8.0893576592064351E-2</c:v>
                </c:pt>
                <c:pt idx="5">
                  <c:v>0.10591306407663501</c:v>
                </c:pt>
              </c:numCache>
            </c:numRef>
          </c:val>
          <c:extLst>
            <c:ext xmlns:c16="http://schemas.microsoft.com/office/drawing/2014/chart" uri="{C3380CC4-5D6E-409C-BE32-E72D297353CC}">
              <c16:uniqueId val="{00000005-42CB-473B-A0D3-F196A50C66C9}"/>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42CB-473B-A0D3-F196A50C66C9}"/>
                </c:ext>
              </c:extLst>
            </c:dLbl>
            <c:dLbl>
              <c:idx val="4"/>
              <c:delete val="1"/>
              <c:extLst>
                <c:ext xmlns:c15="http://schemas.microsoft.com/office/drawing/2012/chart" uri="{CE6537A1-D6FC-4f65-9D91-7224C49458BB}"/>
                <c:ext xmlns:c16="http://schemas.microsoft.com/office/drawing/2014/chart" uri="{C3380CC4-5D6E-409C-BE32-E72D297353CC}">
                  <c16:uniqueId val="{00000008-42CB-473B-A0D3-F196A50C66C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22305103600799</c:v>
                </c:pt>
                <c:pt idx="1">
                  <c:v>1</c:v>
                </c:pt>
                <c:pt idx="2">
                  <c:v>0</c:v>
                </c:pt>
                <c:pt idx="3">
                  <c:v>0</c:v>
                </c:pt>
                <c:pt idx="4">
                  <c:v>1.2103146822388805E-2</c:v>
                </c:pt>
                <c:pt idx="5">
                  <c:v>0.54216535857040526</c:v>
                </c:pt>
              </c:numCache>
            </c:numRef>
          </c:val>
          <c:extLst>
            <c:ext xmlns:c16="http://schemas.microsoft.com/office/drawing/2014/chart" uri="{C3380CC4-5D6E-409C-BE32-E72D297353CC}">
              <c16:uniqueId val="{00000006-42CB-473B-A0D3-F196A50C66C9}"/>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Gjersta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5</c:v>
                </c:pt>
                <c:pt idx="1">
                  <c:v>1</c:v>
                </c:pt>
                <c:pt idx="2">
                  <c:v>0</c:v>
                </c:pt>
                <c:pt idx="3">
                  <c:v>82</c:v>
                </c:pt>
                <c:pt idx="4">
                  <c:v>8</c:v>
                </c:pt>
                <c:pt idx="5">
                  <c:v>4</c:v>
                </c:pt>
              </c:numCache>
            </c:numRef>
          </c:val>
          <c:extLst>
            <c:ext xmlns:c16="http://schemas.microsoft.com/office/drawing/2014/chart" uri="{C3380CC4-5D6E-409C-BE32-E72D297353CC}">
              <c16:uniqueId val="{00000000-D65B-4210-8B7A-CB38C2C663E4}"/>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D65B-4210-8B7A-CB38C2C663E4}"/>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3</c:v>
                </c:pt>
                <c:pt idx="1">
                  <c:v>0</c:v>
                </c:pt>
                <c:pt idx="2">
                  <c:v>3</c:v>
                </c:pt>
                <c:pt idx="3">
                  <c:v>3</c:v>
                </c:pt>
                <c:pt idx="4">
                  <c:v>3</c:v>
                </c:pt>
                <c:pt idx="5">
                  <c:v>3</c:v>
                </c:pt>
              </c:numCache>
            </c:numRef>
          </c:val>
          <c:extLst>
            <c:ext xmlns:c16="http://schemas.microsoft.com/office/drawing/2014/chart" uri="{C3380CC4-5D6E-409C-BE32-E72D297353CC}">
              <c16:uniqueId val="{00000000-D2F5-4474-97A5-1C5799061228}"/>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323</c:v>
                </c:pt>
                <c:pt idx="1">
                  <c:v>320</c:v>
                </c:pt>
                <c:pt idx="2">
                  <c:v>321</c:v>
                </c:pt>
                <c:pt idx="3">
                  <c:v>324</c:v>
                </c:pt>
                <c:pt idx="4">
                  <c:v>308</c:v>
                </c:pt>
                <c:pt idx="5">
                  <c:v>323</c:v>
                </c:pt>
              </c:numCache>
            </c:numRef>
          </c:val>
          <c:extLst>
            <c:ext xmlns:c16="http://schemas.microsoft.com/office/drawing/2014/chart" uri="{C3380CC4-5D6E-409C-BE32-E72D297353CC}">
              <c16:uniqueId val="{00000001-D2F5-4474-97A5-1C5799061228}"/>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6</c:v>
                </c:pt>
                <c:pt idx="1">
                  <c:v>3</c:v>
                </c:pt>
                <c:pt idx="2">
                  <c:v>3</c:v>
                </c:pt>
                <c:pt idx="3">
                  <c:v>3</c:v>
                </c:pt>
                <c:pt idx="4">
                  <c:v>8</c:v>
                </c:pt>
                <c:pt idx="5">
                  <c:v>6</c:v>
                </c:pt>
              </c:numCache>
            </c:numRef>
          </c:val>
          <c:extLst>
            <c:ext xmlns:c16="http://schemas.microsoft.com/office/drawing/2014/chart" uri="{C3380CC4-5D6E-409C-BE32-E72D297353CC}">
              <c16:uniqueId val="{00000002-D2F5-4474-97A5-1C5799061228}"/>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530</c:v>
                </c:pt>
                <c:pt idx="1">
                  <c:v>555</c:v>
                </c:pt>
                <c:pt idx="2">
                  <c:v>559</c:v>
                </c:pt>
                <c:pt idx="3">
                  <c:v>596</c:v>
                </c:pt>
                <c:pt idx="4">
                  <c:v>736</c:v>
                </c:pt>
                <c:pt idx="5">
                  <c:v>698</c:v>
                </c:pt>
              </c:numCache>
            </c:numRef>
          </c:val>
          <c:extLst>
            <c:ext xmlns:c16="http://schemas.microsoft.com/office/drawing/2014/chart" uri="{C3380CC4-5D6E-409C-BE32-E72D297353CC}">
              <c16:uniqueId val="{00000003-D2F5-4474-97A5-1C5799061228}"/>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D2F5-4474-97A5-1C5799061228}"/>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D2F5-4474-97A5-1C5799061228}"/>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D2F5-4474-97A5-1C5799061228}"/>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D2F5-4474-97A5-1C5799061228}"/>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D2F5-4474-97A5-1C5799061228}"/>
              </c:ext>
            </c:extLst>
          </c:dPt>
          <c:dPt>
            <c:idx val="5"/>
            <c:invertIfNegative val="0"/>
            <c:bubble3D val="0"/>
            <c:extLst>
              <c:ext xmlns:c16="http://schemas.microsoft.com/office/drawing/2014/chart" uri="{C3380CC4-5D6E-409C-BE32-E72D297353CC}">
                <c16:uniqueId val="{0000000E-D2F5-4474-97A5-1C5799061228}"/>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2F5-4474-97A5-1C5799061228}"/>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2F5-4474-97A5-1C5799061228}"/>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2F5-4474-97A5-1C5799061228}"/>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2F5-4474-97A5-1C5799061228}"/>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2F5-4474-97A5-1C579906122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8</c:v>
                </c:pt>
                <c:pt idx="1">
                  <c:v>9</c:v>
                </c:pt>
                <c:pt idx="2">
                  <c:v>8</c:v>
                </c:pt>
                <c:pt idx="3">
                  <c:v>11</c:v>
                </c:pt>
                <c:pt idx="4">
                  <c:v>10</c:v>
                </c:pt>
                <c:pt idx="5">
                  <c:v>8</c:v>
                </c:pt>
              </c:numCache>
            </c:numRef>
          </c:val>
          <c:extLst>
            <c:ext xmlns:c16="http://schemas.microsoft.com/office/drawing/2014/chart" uri="{C3380CC4-5D6E-409C-BE32-E72D297353CC}">
              <c16:uniqueId val="{0000000F-D2F5-4474-97A5-1C5799061228}"/>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EE05-425E-848A-4109C85A6922}"/>
              </c:ext>
            </c:extLst>
          </c:dPt>
          <c:dPt>
            <c:idx val="1"/>
            <c:bubble3D val="0"/>
            <c:spPr>
              <a:solidFill>
                <a:schemeClr val="accent2"/>
              </a:solidFill>
              <a:ln>
                <a:noFill/>
              </a:ln>
              <a:effectLst/>
            </c:spPr>
            <c:extLst>
              <c:ext xmlns:c16="http://schemas.microsoft.com/office/drawing/2014/chart" uri="{C3380CC4-5D6E-409C-BE32-E72D297353CC}">
                <c16:uniqueId val="{00000003-EE05-425E-848A-4109C85A6922}"/>
              </c:ext>
            </c:extLst>
          </c:dPt>
          <c:dPt>
            <c:idx val="2"/>
            <c:bubble3D val="0"/>
            <c:spPr>
              <a:solidFill>
                <a:schemeClr val="accent3"/>
              </a:solidFill>
              <a:ln>
                <a:noFill/>
              </a:ln>
              <a:effectLst/>
            </c:spPr>
            <c:extLst>
              <c:ext xmlns:c16="http://schemas.microsoft.com/office/drawing/2014/chart" uri="{C3380CC4-5D6E-409C-BE32-E72D297353CC}">
                <c16:uniqueId val="{00000005-EE05-425E-848A-4109C85A6922}"/>
              </c:ext>
            </c:extLst>
          </c:dPt>
          <c:dPt>
            <c:idx val="3"/>
            <c:bubble3D val="0"/>
            <c:spPr>
              <a:solidFill>
                <a:schemeClr val="accent4"/>
              </a:solidFill>
              <a:ln>
                <a:noFill/>
              </a:ln>
              <a:effectLst/>
            </c:spPr>
            <c:extLst>
              <c:ext xmlns:c16="http://schemas.microsoft.com/office/drawing/2014/chart" uri="{C3380CC4-5D6E-409C-BE32-E72D297353CC}">
                <c16:uniqueId val="{00000007-EE05-425E-848A-4109C85A6922}"/>
              </c:ext>
            </c:extLst>
          </c:dPt>
          <c:dPt>
            <c:idx val="4"/>
            <c:bubble3D val="0"/>
            <c:spPr>
              <a:solidFill>
                <a:schemeClr val="accent5"/>
              </a:solidFill>
              <a:ln>
                <a:noFill/>
              </a:ln>
              <a:effectLst/>
            </c:spPr>
            <c:extLst>
              <c:ext xmlns:c16="http://schemas.microsoft.com/office/drawing/2014/chart" uri="{C3380CC4-5D6E-409C-BE32-E72D297353CC}">
                <c16:uniqueId val="{00000009-EE05-425E-848A-4109C85A6922}"/>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E05-425E-848A-4109C85A6922}"/>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3</c:v>
                </c:pt>
                <c:pt idx="1">
                  <c:v>323</c:v>
                </c:pt>
                <c:pt idx="2">
                  <c:v>6</c:v>
                </c:pt>
                <c:pt idx="3">
                  <c:v>698</c:v>
                </c:pt>
                <c:pt idx="4">
                  <c:v>8</c:v>
                </c:pt>
              </c:numCache>
            </c:numRef>
          </c:val>
          <c:extLst>
            <c:ext xmlns:c16="http://schemas.microsoft.com/office/drawing/2014/chart" uri="{C3380CC4-5D6E-409C-BE32-E72D297353CC}">
              <c16:uniqueId val="{0000000A-EE05-425E-848A-4109C85A6922}"/>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ektorfordelt_sysselsetting_tabell_13472_13470.xlsx]pivot 2 siffer!Pivottabell7</c:name>
    <c:fmtId val="112"/>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28 Maskinindustri</c:v>
                </c:pt>
              </c:strCache>
            </c:strRef>
          </c:tx>
          <c:spPr>
            <a:ln w="28575"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42</c:v>
                </c:pt>
                <c:pt idx="1">
                  <c:v>33</c:v>
                </c:pt>
                <c:pt idx="2">
                  <c:v>29</c:v>
                </c:pt>
                <c:pt idx="3">
                  <c:v>8</c:v>
                </c:pt>
                <c:pt idx="4">
                  <c:v>32</c:v>
                </c:pt>
                <c:pt idx="5">
                  <c:v>27</c:v>
                </c:pt>
              </c:numCache>
            </c:numRef>
          </c:val>
          <c:smooth val="0"/>
          <c:extLst>
            <c:ext xmlns:c16="http://schemas.microsoft.com/office/drawing/2014/chart" uri="{C3380CC4-5D6E-409C-BE32-E72D297353CC}">
              <c16:uniqueId val="{00000000-D36D-4AD2-9DEA-5C49A5CEDD14}"/>
            </c:ext>
          </c:extLst>
        </c:ser>
        <c:ser>
          <c:idx val="1"/>
          <c:order val="1"/>
          <c:tx>
            <c:strRef>
              <c:f>'pivot 2 siffer'!$C$4:$C$5</c:f>
              <c:strCache>
                <c:ptCount val="1"/>
                <c:pt idx="0">
                  <c:v>32 Annen industri</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16</c:v>
                </c:pt>
                <c:pt idx="1">
                  <c:v>21</c:v>
                </c:pt>
                <c:pt idx="2">
                  <c:v>20</c:v>
                </c:pt>
                <c:pt idx="3">
                  <c:v>19</c:v>
                </c:pt>
                <c:pt idx="4">
                  <c:v>20</c:v>
                </c:pt>
                <c:pt idx="5">
                  <c:v>21</c:v>
                </c:pt>
              </c:numCache>
            </c:numRef>
          </c:val>
          <c:smooth val="0"/>
          <c:extLst>
            <c:ext xmlns:c16="http://schemas.microsoft.com/office/drawing/2014/chart" uri="{C3380CC4-5D6E-409C-BE32-E72D297353CC}">
              <c16:uniqueId val="{00000001-D36D-4AD2-9DEA-5C49A5CEDD14}"/>
            </c:ext>
          </c:extLst>
        </c:ser>
        <c:ser>
          <c:idx val="2"/>
          <c:order val="2"/>
          <c:tx>
            <c:strRef>
              <c:f>'pivot 2 siffer'!$D$4:$D$5</c:f>
              <c:strCache>
                <c:ptCount val="1"/>
                <c:pt idx="0">
                  <c:v>42 Anleggsvirksomhet</c:v>
                </c:pt>
              </c:strCache>
            </c:strRef>
          </c:tx>
          <c:spPr>
            <a:ln w="28575" cap="rnd">
              <a:solidFill>
                <a:schemeClr val="accent3"/>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7</c:v>
                </c:pt>
                <c:pt idx="1">
                  <c:v>7</c:v>
                </c:pt>
                <c:pt idx="2">
                  <c:v>7</c:v>
                </c:pt>
                <c:pt idx="3">
                  <c:v>20</c:v>
                </c:pt>
                <c:pt idx="4">
                  <c:v>19</c:v>
                </c:pt>
                <c:pt idx="5">
                  <c:v>21</c:v>
                </c:pt>
              </c:numCache>
            </c:numRef>
          </c:val>
          <c:smooth val="0"/>
          <c:extLst>
            <c:ext xmlns:c16="http://schemas.microsoft.com/office/drawing/2014/chart" uri="{C3380CC4-5D6E-409C-BE32-E72D297353CC}">
              <c16:uniqueId val="{00000002-D36D-4AD2-9DEA-5C49A5CEDD14}"/>
            </c:ext>
          </c:extLst>
        </c:ser>
        <c:ser>
          <c:idx val="3"/>
          <c:order val="3"/>
          <c:tx>
            <c:strRef>
              <c:f>'pivot 2 siffer'!$E$4:$E$5</c:f>
              <c:strCache>
                <c:ptCount val="1"/>
                <c:pt idx="0">
                  <c:v>43 Spesialisert bygge- og anleggsvirksomhet</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33</c:v>
                </c:pt>
                <c:pt idx="1">
                  <c:v>40</c:v>
                </c:pt>
                <c:pt idx="2">
                  <c:v>45</c:v>
                </c:pt>
                <c:pt idx="3">
                  <c:v>42</c:v>
                </c:pt>
                <c:pt idx="4">
                  <c:v>39</c:v>
                </c:pt>
                <c:pt idx="5">
                  <c:v>50</c:v>
                </c:pt>
              </c:numCache>
            </c:numRef>
          </c:val>
          <c:smooth val="0"/>
          <c:extLst>
            <c:ext xmlns:c16="http://schemas.microsoft.com/office/drawing/2014/chart" uri="{C3380CC4-5D6E-409C-BE32-E72D297353CC}">
              <c16:uniqueId val="{00000003-D36D-4AD2-9DEA-5C49A5CEDD14}"/>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0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jerstad</c:v>
                </c:pt>
              </c:strCache>
            </c:strRef>
          </c:cat>
          <c:val>
            <c:numRef>
              <c:f>Pivot_tom_2023!$B$6:$B$8</c:f>
              <c:numCache>
                <c:formatCode>General</c:formatCode>
                <c:ptCount val="2"/>
                <c:pt idx="0">
                  <c:v>42.3</c:v>
                </c:pt>
                <c:pt idx="1">
                  <c:v>41.2</c:v>
                </c:pt>
              </c:numCache>
            </c:numRef>
          </c:val>
          <c:extLst>
            <c:ext xmlns:c16="http://schemas.microsoft.com/office/drawing/2014/chart" uri="{C3380CC4-5D6E-409C-BE32-E72D297353CC}">
              <c16:uniqueId val="{00000000-92BF-4280-82C6-8501D7C5EFFB}"/>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jerstad</c:v>
                </c:pt>
              </c:strCache>
            </c:strRef>
          </c:cat>
          <c:val>
            <c:numRef>
              <c:f>Pivot_tom_2023!$C$6:$C$8</c:f>
              <c:numCache>
                <c:formatCode>General</c:formatCode>
                <c:ptCount val="2"/>
                <c:pt idx="0">
                  <c:v>42.6</c:v>
                </c:pt>
                <c:pt idx="1">
                  <c:v>42</c:v>
                </c:pt>
              </c:numCache>
            </c:numRef>
          </c:val>
          <c:extLst>
            <c:ext xmlns:c16="http://schemas.microsoft.com/office/drawing/2014/chart" uri="{C3380CC4-5D6E-409C-BE32-E72D297353CC}">
              <c16:uniqueId val="{00000001-92BF-4280-82C6-8501D7C5EFFB}"/>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jerstad</c:v>
                </c:pt>
              </c:strCache>
            </c:strRef>
          </c:cat>
          <c:val>
            <c:numRef>
              <c:f>Pivot_tom_2023!$D$6:$D$8</c:f>
              <c:numCache>
                <c:formatCode>General</c:formatCode>
                <c:ptCount val="2"/>
                <c:pt idx="0">
                  <c:v>42.8</c:v>
                </c:pt>
                <c:pt idx="1">
                  <c:v>43.9</c:v>
                </c:pt>
              </c:numCache>
            </c:numRef>
          </c:val>
          <c:extLst>
            <c:ext xmlns:c16="http://schemas.microsoft.com/office/drawing/2014/chart" uri="{C3380CC4-5D6E-409C-BE32-E72D297353CC}">
              <c16:uniqueId val="{00000002-92BF-4280-82C6-8501D7C5EFFB}"/>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jerstad</c:v>
                </c:pt>
              </c:strCache>
            </c:strRef>
          </c:cat>
          <c:val>
            <c:numRef>
              <c:f>Pivot_tom_2023!$E$6:$E$8</c:f>
              <c:numCache>
                <c:formatCode>General</c:formatCode>
                <c:ptCount val="2"/>
                <c:pt idx="0">
                  <c:v>41.5</c:v>
                </c:pt>
                <c:pt idx="1">
                  <c:v>44.6</c:v>
                </c:pt>
              </c:numCache>
            </c:numRef>
          </c:val>
          <c:extLst>
            <c:ext xmlns:c16="http://schemas.microsoft.com/office/drawing/2014/chart" uri="{C3380CC4-5D6E-409C-BE32-E72D297353CC}">
              <c16:uniqueId val="{00000003-92BF-4280-82C6-8501D7C5EFFB}"/>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Gjerstad</c:v>
                </c:pt>
              </c:strCache>
            </c:strRef>
          </c:cat>
          <c:val>
            <c:numRef>
              <c:f>Pivot_tom_2023!$F$6:$F$8</c:f>
              <c:numCache>
                <c:formatCode>General</c:formatCode>
                <c:ptCount val="2"/>
                <c:pt idx="0">
                  <c:v>41.6</c:v>
                </c:pt>
                <c:pt idx="1">
                  <c:v>43.7</c:v>
                </c:pt>
              </c:numCache>
            </c:numRef>
          </c:val>
          <c:extLst>
            <c:ext xmlns:c16="http://schemas.microsoft.com/office/drawing/2014/chart" uri="{C3380CC4-5D6E-409C-BE32-E72D297353CC}">
              <c16:uniqueId val="{00000004-92BF-4280-82C6-8501D7C5EFFB}"/>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3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65AD-408E-91B4-6515AE94002A}"/>
            </c:ext>
          </c:extLst>
        </c:ser>
        <c:ser>
          <c:idx val="1"/>
          <c:order val="1"/>
          <c:tx>
            <c:strRef>
              <c:f>'bruk 2024'!$C$5:$C$6</c:f>
              <c:strCache>
                <c:ptCount val="1"/>
                <c:pt idx="0">
                  <c:v>Gjersta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3</c:v>
                </c:pt>
                <c:pt idx="1">
                  <c:v>76</c:v>
                </c:pt>
                <c:pt idx="2">
                  <c:v>83.3</c:v>
                </c:pt>
                <c:pt idx="3">
                  <c:v>75</c:v>
                </c:pt>
                <c:pt idx="4">
                  <c:v>83.3</c:v>
                </c:pt>
              </c:numCache>
            </c:numRef>
          </c:val>
          <c:extLst>
            <c:ext xmlns:c16="http://schemas.microsoft.com/office/drawing/2014/chart" uri="{C3380CC4-5D6E-409C-BE32-E72D297353CC}">
              <c16:uniqueId val="{00000001-65AD-408E-91B4-6515AE94002A}"/>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1869-4379-A5DE-A67175A0FEC9}"/>
              </c:ext>
            </c:extLst>
          </c:dPt>
          <c:dPt>
            <c:idx val="8"/>
            <c:invertIfNegative val="0"/>
            <c:bubble3D val="0"/>
            <c:spPr>
              <a:solidFill>
                <a:schemeClr val="accent1"/>
              </a:solidFill>
              <a:ln>
                <a:noFill/>
              </a:ln>
              <a:effectLst/>
            </c:spPr>
            <c:extLst>
              <c:ext xmlns:c16="http://schemas.microsoft.com/office/drawing/2014/chart" uri="{C3380CC4-5D6E-409C-BE32-E72D297353CC}">
                <c16:uniqueId val="{00000004-1869-4379-A5DE-A67175A0FEC9}"/>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1869-4379-A5DE-A67175A0FEC9}"/>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1869-4379-A5DE-A67175A0FEC9}"/>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ntrakter per 1000 innbyggere, privat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_privat_sektor'!$I$3</c:f>
              <c:strCache>
                <c:ptCount val="1"/>
                <c:pt idx="0">
                  <c:v>Antall kontrakter per 1000 innbyggere</c:v>
                </c:pt>
              </c:strCache>
            </c:strRef>
          </c:tx>
          <c:spPr>
            <a:solidFill>
              <a:srgbClr val="002060"/>
            </a:solidFill>
            <a:ln>
              <a:noFill/>
            </a:ln>
            <a:effectLst/>
          </c:spPr>
          <c:invertIfNegative val="0"/>
          <c:dPt>
            <c:idx val="3"/>
            <c:invertIfNegative val="0"/>
            <c:bubble3D val="0"/>
            <c:spPr>
              <a:solidFill>
                <a:srgbClr val="00B0F0"/>
              </a:solidFill>
              <a:ln>
                <a:noFill/>
              </a:ln>
              <a:effectLst/>
            </c:spPr>
            <c:extLst>
              <c:ext xmlns:c16="http://schemas.microsoft.com/office/drawing/2014/chart" uri="{C3380CC4-5D6E-409C-BE32-E72D297353CC}">
                <c16:uniqueId val="{00000001-1E41-45C0-B609-2EEEF3712106}"/>
              </c:ext>
            </c:extLst>
          </c:dPt>
          <c:dPt>
            <c:idx val="16"/>
            <c:invertIfNegative val="0"/>
            <c:bubble3D val="0"/>
            <c:spPr>
              <a:solidFill>
                <a:srgbClr val="FFC000"/>
              </a:solidFill>
              <a:ln>
                <a:noFill/>
              </a:ln>
              <a:effectLst/>
            </c:spPr>
            <c:extLst>
              <c:ext xmlns:c16="http://schemas.microsoft.com/office/drawing/2014/chart" uri="{C3380CC4-5D6E-409C-BE32-E72D297353CC}">
                <c16:uniqueId val="{00000003-1E41-45C0-B609-2EEEF3712106}"/>
              </c:ext>
            </c:extLst>
          </c:dPt>
          <c:cat>
            <c:strRef>
              <c:f>'[Lærekontrakter_180923.xlsx]08.11.24_privat_sektor'!$H$4:$H$29</c:f>
              <c:strCache>
                <c:ptCount val="26"/>
                <c:pt idx="0">
                  <c:v>Iveland</c:v>
                </c:pt>
                <c:pt idx="1">
                  <c:v>Vegårshei</c:v>
                </c:pt>
                <c:pt idx="2">
                  <c:v>Åseral</c:v>
                </c:pt>
                <c:pt idx="3">
                  <c:v>Gjerstad</c:v>
                </c:pt>
                <c:pt idx="4">
                  <c:v>Sirdal</c:v>
                </c:pt>
                <c:pt idx="5">
                  <c:v>Vennesla</c:v>
                </c:pt>
                <c:pt idx="6">
                  <c:v>Lillesand</c:v>
                </c:pt>
                <c:pt idx="7">
                  <c:v>Bygland</c:v>
                </c:pt>
                <c:pt idx="8">
                  <c:v>Evje og Hornnes</c:v>
                </c:pt>
                <c:pt idx="9">
                  <c:v>Åmli</c:v>
                </c:pt>
                <c:pt idx="10">
                  <c:v>Arendal</c:v>
                </c:pt>
                <c:pt idx="11">
                  <c:v>Tvedestrand</c:v>
                </c:pt>
                <c:pt idx="12">
                  <c:v>Birkenes</c:v>
                </c:pt>
                <c:pt idx="13">
                  <c:v>Kvinesdal</c:v>
                </c:pt>
                <c:pt idx="14">
                  <c:v>Risør</c:v>
                </c:pt>
                <c:pt idx="15">
                  <c:v>Grimstad</c:v>
                </c:pt>
                <c:pt idx="16">
                  <c:v>Agder</c:v>
                </c:pt>
                <c:pt idx="17">
                  <c:v>Lindesnes</c:v>
                </c:pt>
                <c:pt idx="18">
                  <c:v>Lyngdal</c:v>
                </c:pt>
                <c:pt idx="19">
                  <c:v>Froland</c:v>
                </c:pt>
                <c:pt idx="20">
                  <c:v>Bykle</c:v>
                </c:pt>
                <c:pt idx="21">
                  <c:v>Valle</c:v>
                </c:pt>
                <c:pt idx="22">
                  <c:v>Hægebostad</c:v>
                </c:pt>
                <c:pt idx="23">
                  <c:v>Kristiansand</c:v>
                </c:pt>
                <c:pt idx="24">
                  <c:v>Farsund</c:v>
                </c:pt>
                <c:pt idx="25">
                  <c:v>Flekkefjord</c:v>
                </c:pt>
              </c:strCache>
            </c:strRef>
          </c:cat>
          <c:val>
            <c:numRef>
              <c:f>'[Lærekontrakter_180923.xlsx]08.11.24_privat_sektor'!$I$4:$I$29</c:f>
              <c:numCache>
                <c:formatCode>0</c:formatCode>
                <c:ptCount val="26"/>
                <c:pt idx="0">
                  <c:v>2.1739130434782608</c:v>
                </c:pt>
                <c:pt idx="1">
                  <c:v>2.204585537918871</c:v>
                </c:pt>
                <c:pt idx="2">
                  <c:v>3.2502708559046587</c:v>
                </c:pt>
                <c:pt idx="3">
                  <c:v>4.5008183306055649</c:v>
                </c:pt>
                <c:pt idx="4">
                  <c:v>5.3390282968499738</c:v>
                </c:pt>
                <c:pt idx="5">
                  <c:v>6.5363706963499872</c:v>
                </c:pt>
                <c:pt idx="6">
                  <c:v>6.5955046428881374</c:v>
                </c:pt>
                <c:pt idx="7">
                  <c:v>6.7796610169491522</c:v>
                </c:pt>
                <c:pt idx="8">
                  <c:v>7.0582304008066545</c:v>
                </c:pt>
                <c:pt idx="9">
                  <c:v>7.2142064372918977</c:v>
                </c:pt>
                <c:pt idx="10">
                  <c:v>7.226836371480962</c:v>
                </c:pt>
                <c:pt idx="11">
                  <c:v>7.4331804523169387</c:v>
                </c:pt>
                <c:pt idx="12">
                  <c:v>7.4817518248175183</c:v>
                </c:pt>
                <c:pt idx="13">
                  <c:v>7.7519379844961236</c:v>
                </c:pt>
                <c:pt idx="14">
                  <c:v>8.4981684981684982</c:v>
                </c:pt>
                <c:pt idx="15">
                  <c:v>8.6106772397773241</c:v>
                </c:pt>
                <c:pt idx="16">
                  <c:v>8.7978740034391123</c:v>
                </c:pt>
                <c:pt idx="17">
                  <c:v>8.8222878851836217</c:v>
                </c:pt>
                <c:pt idx="18">
                  <c:v>9.6908167974157831</c:v>
                </c:pt>
                <c:pt idx="19">
                  <c:v>9.7819114817190513</c:v>
                </c:pt>
                <c:pt idx="20">
                  <c:v>9.8911968348170127</c:v>
                </c:pt>
                <c:pt idx="21">
                  <c:v>9.9585062240663902</c:v>
                </c:pt>
                <c:pt idx="22">
                  <c:v>10.135135135135135</c:v>
                </c:pt>
                <c:pt idx="23">
                  <c:v>10.146513257996684</c:v>
                </c:pt>
                <c:pt idx="24">
                  <c:v>10.935601458080194</c:v>
                </c:pt>
                <c:pt idx="25">
                  <c:v>10.992563853863563</c:v>
                </c:pt>
              </c:numCache>
            </c:numRef>
          </c:val>
          <c:extLst>
            <c:ext xmlns:c16="http://schemas.microsoft.com/office/drawing/2014/chart" uri="{C3380CC4-5D6E-409C-BE32-E72D297353CC}">
              <c16:uniqueId val="{00000004-1E41-45C0-B609-2EEEF3712106}"/>
            </c:ext>
          </c:extLst>
        </c:ser>
        <c:dLbls>
          <c:showLegendKey val="0"/>
          <c:showVal val="0"/>
          <c:showCatName val="0"/>
          <c:showSerName val="0"/>
          <c:showPercent val="0"/>
          <c:showBubbleSize val="0"/>
        </c:dLbls>
        <c:gapWidth val="219"/>
        <c:overlap val="-27"/>
        <c:axId val="1308991968"/>
        <c:axId val="1308990528"/>
      </c:barChart>
      <c:catAx>
        <c:axId val="130899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0528"/>
        <c:crosses val="autoZero"/>
        <c:auto val="1"/>
        <c:lblAlgn val="ctr"/>
        <c:lblOffset val="100"/>
        <c:noMultiLvlLbl val="0"/>
      </c:catAx>
      <c:valAx>
        <c:axId val="13089905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1968"/>
        <c:crosses val="autoZero"/>
        <c:crossBetween val="between"/>
      </c:valAx>
      <c:spPr>
        <a:noFill/>
        <a:ln>
          <a:noFill/>
        </a:ln>
        <a:effectLst/>
      </c:spPr>
    </c:plotArea>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nb-NO"/>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25</cx:pt>
          <cx:pt idx="1">0</cx:pt>
          <cx:pt idx="2">77</cx:pt>
          <cx:pt idx="3">0</cx:pt>
          <cx:pt idx="4">89</cx:pt>
          <cx:pt idx="5">202</cx:pt>
          <cx:pt idx="6">34</cx:pt>
          <cx:pt idx="7">61</cx:pt>
          <cx:pt idx="8">3</cx:pt>
          <cx:pt idx="9">28</cx:pt>
          <cx:pt idx="10">17</cx:pt>
          <cx:pt idx="11">134</cx:pt>
          <cx:pt idx="12">24</cx:pt>
          <cx:pt idx="13">52</cx:pt>
          <cx:pt idx="14">254</cx:pt>
          <cx:pt idx="15">33</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6.12.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Gjerstad samlet for hele befolkningen: 44,9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696342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Alle sektorer 3494- privat sektor 2814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12.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dirty="0"/>
              <a:t>Blant 5 åringer har det vært en markant nedgang i tenner med karies.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a:t>- Nasjonal referansebane beregnes med utgangspunkt i vedtatt nasjonal politikk.</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er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480562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a:t>
            </a:r>
            <a:r>
              <a:rPr lang="nb-NO" dirty="0"/>
              <a:t>2024</a:t>
            </a:r>
            <a:r>
              <a:rPr lang="nb-NO" baseline="0" dirty="0"/>
              <a:t>,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37174107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dirty="0"/>
              <a:t> rutenettstatistikk.</a:t>
            </a:r>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123151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9</a:t>
            </a:fld>
            <a:endParaRPr lang="nb-NO"/>
          </a:p>
        </p:txBody>
      </p:sp>
    </p:spTree>
    <p:extLst>
      <p:ext uri="{BB962C8B-B14F-4D97-AF65-F5344CB8AC3E}">
        <p14:creationId xmlns:p14="http://schemas.microsoft.com/office/powerpoint/2010/main" val="1886789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ilde for virksomhetsinfo:</a:t>
            </a:r>
            <a:r>
              <a:rPr lang="nb-NO" baseline="0" dirty="0"/>
              <a:t> Brønnøysundregisteret.</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Standpunktkarakterer og eksamensresultater inngår i elevenes sluttvurdering og skal gi informasjon om elevenes kompetanse ved avslutningen av </a:t>
            </a:r>
            <a:r>
              <a:rPr lang="nb-NO" sz="1200" b="0" i="0" kern="1200">
                <a:solidFill>
                  <a:schemeClr val="tx1"/>
                </a:solidFill>
                <a:effectLst/>
                <a:latin typeface="+mn-lt"/>
                <a:ea typeface="+mn-ea"/>
                <a:cs typeface="+mn-cs"/>
              </a:rPr>
              <a:t>grunnopplæringen.</a:t>
            </a: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0.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6.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9.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1.xml"/><Relationship Id="rId1" Type="http://schemas.openxmlformats.org/officeDocument/2006/relationships/slideLayout" Target="../slideLayouts/slideLayout26.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Gjerstad</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a:p>
            <a:endParaRPr lang="nb-NO"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365302" y="5163661"/>
            <a:ext cx="10510287" cy="584775"/>
          </a:xfrm>
          <a:prstGeom prst="rect">
            <a:avLst/>
          </a:prstGeom>
          <a:noFill/>
        </p:spPr>
        <p:txBody>
          <a:bodyPr wrap="square" rtlCol="0">
            <a:spAutoFit/>
          </a:bodyPr>
          <a:lstStyle/>
          <a:p>
            <a:r>
              <a:rPr lang="nb-NO" sz="1600" dirty="0"/>
              <a:t>Brokelandsheia Matsenter AS er den største private arbeidsgiveren i Gjerstad. RA1 anlegg AS (spesialisert bygge- og anleggsvirksomhet) er største innenfor bygg og anlegg, mens </a:t>
            </a:r>
            <a:r>
              <a:rPr lang="nb-NO" sz="1600" dirty="0" err="1"/>
              <a:t>Optimek</a:t>
            </a:r>
            <a:r>
              <a:rPr lang="nb-NO" sz="1600" dirty="0"/>
              <a:t> AS er den største industribedriften.</a:t>
            </a:r>
          </a:p>
        </p:txBody>
      </p:sp>
      <p:sp>
        <p:nvSpPr>
          <p:cNvPr id="5" name="TekstSylinder 4">
            <a:extLst>
              <a:ext uri="{FF2B5EF4-FFF2-40B4-BE49-F238E27FC236}">
                <a16:creationId xmlns:a16="http://schemas.microsoft.com/office/drawing/2014/main" id="{C19ADEF0-FC35-B783-342F-475824D7A23D}"/>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2175838391"/>
                  </p:ext>
                </p:extLst>
              </p:nvPr>
            </p:nvGraphicFramePr>
            <p:xfrm>
              <a:off x="365302" y="1281666"/>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365302" y="1281666"/>
                <a:ext cx="5005389" cy="3690938"/>
              </a:xfrm>
              <a:prstGeom prst="rect">
                <a:avLst/>
              </a:prstGeom>
            </p:spPr>
          </p:pic>
        </mc:Fallback>
      </mc:AlternateContent>
      <p:graphicFrame>
        <p:nvGraphicFramePr>
          <p:cNvPr id="7" name="Diagram 6"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3801138882"/>
              </p:ext>
            </p:extLst>
          </p:nvPr>
        </p:nvGraphicFramePr>
        <p:xfrm>
          <a:off x="5636512" y="1281666"/>
          <a:ext cx="6427472" cy="364811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07134" y="1300162"/>
            <a:ext cx="4316396" cy="4069506"/>
          </a:xfrm>
        </p:spPr>
        <p:txBody>
          <a:bodyPr/>
          <a:lstStyle/>
          <a:p>
            <a:r>
              <a:rPr lang="nb-NO" sz="2000" dirty="0"/>
              <a:t>Gjerstad ligger noe under snittet for fylket for grunnskolepoeng i årene 2020 og 2021, men over snittet i årene 2022, 2023 og 2024.</a:t>
            </a:r>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6" name="TekstSylinder 5">
            <a:extLst>
              <a:ext uri="{FF2B5EF4-FFF2-40B4-BE49-F238E27FC236}">
                <a16:creationId xmlns:a16="http://schemas.microsoft.com/office/drawing/2014/main" id="{76127985-A289-FD06-1102-26735A4451A6}"/>
              </a:ext>
            </a:extLst>
          </p:cNvPr>
          <p:cNvSpPr txBox="1"/>
          <p:nvPr/>
        </p:nvSpPr>
        <p:spPr>
          <a:xfrm>
            <a:off x="693477" y="5424538"/>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2944596479"/>
              </p:ext>
            </p:extLst>
          </p:nvPr>
        </p:nvGraphicFramePr>
        <p:xfrm>
          <a:off x="5576887"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83,3 %. Dette er tilnærmet likt snittet for Agde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E5A7856B-C0DC-AD56-8FB6-1FFAA12273D3}"/>
              </a:ext>
            </a:extLst>
          </p:cNvPr>
          <p:cNvGraphicFramePr>
            <a:graphicFrameLocks noGrp="1"/>
          </p:cNvGraphicFramePr>
          <p:nvPr>
            <p:extLst>
              <p:ext uri="{D42A27DB-BD31-4B8C-83A1-F6EECF244321}">
                <p14:modId xmlns:p14="http://schemas.microsoft.com/office/powerpoint/2010/main" val="3744703377"/>
              </p:ext>
            </p:extLst>
          </p:nvPr>
        </p:nvGraphicFramePr>
        <p:xfrm>
          <a:off x="695910" y="3469629"/>
          <a:ext cx="4038600" cy="1546860"/>
        </p:xfrm>
        <a:graphic>
          <a:graphicData uri="http://schemas.openxmlformats.org/drawingml/2006/table">
            <a:tbl>
              <a:tblPr firstRow="1"/>
              <a:tblGrid>
                <a:gridCol w="1054100">
                  <a:extLst>
                    <a:ext uri="{9D8B030D-6E8A-4147-A177-3AD203B41FA5}">
                      <a16:colId xmlns:a16="http://schemas.microsoft.com/office/drawing/2014/main" val="1151013186"/>
                    </a:ext>
                  </a:extLst>
                </a:gridCol>
                <a:gridCol w="1054100">
                  <a:extLst>
                    <a:ext uri="{9D8B030D-6E8A-4147-A177-3AD203B41FA5}">
                      <a16:colId xmlns:a16="http://schemas.microsoft.com/office/drawing/2014/main" val="1943846231"/>
                    </a:ext>
                  </a:extLst>
                </a:gridCol>
                <a:gridCol w="965200">
                  <a:extLst>
                    <a:ext uri="{9D8B030D-6E8A-4147-A177-3AD203B41FA5}">
                      <a16:colId xmlns:a16="http://schemas.microsoft.com/office/drawing/2014/main" val="1230864828"/>
                    </a:ext>
                  </a:extLst>
                </a:gridCol>
                <a:gridCol w="965200">
                  <a:extLst>
                    <a:ext uri="{9D8B030D-6E8A-4147-A177-3AD203B41FA5}">
                      <a16:colId xmlns:a16="http://schemas.microsoft.com/office/drawing/2014/main" val="1442167735"/>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err="1">
                          <a:solidFill>
                            <a:srgbClr val="FFFFFF"/>
                          </a:solidFill>
                          <a:effectLst/>
                          <a:latin typeface="Calibri" panose="020F0502020204030204" pitchFamily="34" charset="0"/>
                        </a:rPr>
                        <a:t>Studieforb</a:t>
                      </a:r>
                      <a:r>
                        <a:rPr lang="nb-NO" sz="1300" b="1" i="0" u="none" strike="noStrike" dirty="0">
                          <a:solidFill>
                            <a:srgbClr val="FFFFFF"/>
                          </a:solidFill>
                          <a:effectLst/>
                          <a:latin typeface="Calibri" panose="020F0502020204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2690988869"/>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Gjersta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9,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0,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20408590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6863617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70,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29,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85487845"/>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206031620"/>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73315682"/>
                  </a:ext>
                </a:extLst>
              </a:tr>
              <a:tr h="220980">
                <a:tc vMerge="1">
                  <a:txBody>
                    <a:bodyPr/>
                    <a:lstStyle/>
                    <a:p>
                      <a:endParaRPr lang="nb-NO"/>
                    </a:p>
                  </a:txBody>
                  <a:tcPr/>
                </a:tc>
                <a:tc>
                  <a:txBody>
                    <a:bodyPr/>
                    <a:lstStyle/>
                    <a:p>
                      <a:pPr algn="l" fontAlgn="b"/>
                      <a:r>
                        <a:rPr lang="nb-NO" sz="1300" b="0" i="0" u="none" strike="noStrike" dirty="0">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55618873"/>
                  </a:ext>
                </a:extLst>
              </a:tr>
            </a:tbl>
          </a:graphicData>
        </a:graphic>
      </p:graphicFrame>
      <p:sp>
        <p:nvSpPr>
          <p:cNvPr id="2" name="TekstSylinder 1"/>
          <p:cNvSpPr txBox="1"/>
          <p:nvPr/>
        </p:nvSpPr>
        <p:spPr>
          <a:xfrm>
            <a:off x="5627077" y="6199833"/>
            <a:ext cx="5345723" cy="276999"/>
          </a:xfrm>
          <a:prstGeom prst="rect">
            <a:avLst/>
          </a:prstGeom>
          <a:noFill/>
        </p:spPr>
        <p:txBody>
          <a:bodyPr wrap="square" rtlCol="0">
            <a:spAutoFit/>
          </a:bodyPr>
          <a:lstStyle/>
          <a:p>
            <a:pPr algn="l"/>
            <a:r>
              <a:rPr lang="nb-NO" sz="1200" dirty="0"/>
              <a:t>Eventuelle 0-verdier skyldes at bakgrunnsdata er undertrykt </a:t>
            </a:r>
            <a:r>
              <a:rPr lang="nb-NO" sz="1200" dirty="0" err="1"/>
              <a:t>pga</a:t>
            </a:r>
            <a:r>
              <a:rPr lang="nb-NO" sz="1200" dirty="0"/>
              <a:t> lite utvalg.</a:t>
            </a:r>
          </a:p>
        </p:txBody>
      </p:sp>
      <p:sp>
        <p:nvSpPr>
          <p:cNvPr id="4" name="TekstSylinder 3">
            <a:extLst>
              <a:ext uri="{FF2B5EF4-FFF2-40B4-BE49-F238E27FC236}">
                <a16:creationId xmlns:a16="http://schemas.microsoft.com/office/drawing/2014/main" id="{B2590F24-1A7C-059F-8EDB-DEC0C92C2D8A}"/>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1159362337"/>
              </p:ext>
            </p:extLst>
          </p:nvPr>
        </p:nvGraphicFramePr>
        <p:xfrm>
          <a:off x="5010912" y="1352359"/>
          <a:ext cx="7000699" cy="36641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b-NO" dirty="0"/>
              <a:t>Lærekontrakter kommunal og privat sektor</a:t>
            </a:r>
          </a:p>
        </p:txBody>
      </p:sp>
      <p:sp>
        <p:nvSpPr>
          <p:cNvPr id="12" name="TekstSylinder 11"/>
          <p:cNvSpPr txBox="1"/>
          <p:nvPr/>
        </p:nvSpPr>
        <p:spPr>
          <a:xfrm>
            <a:off x="308762" y="1003580"/>
            <a:ext cx="4162754" cy="4247317"/>
          </a:xfrm>
          <a:prstGeom prst="rect">
            <a:avLst/>
          </a:prstGeom>
          <a:noFill/>
        </p:spPr>
        <p:txBody>
          <a:bodyPr wrap="square" rtlCol="0">
            <a:spAutoFit/>
          </a:bodyPr>
          <a:lstStyle/>
          <a:p>
            <a:pPr marL="285750" indent="-285750" algn="l">
              <a:buFont typeface="Arial" panose="020B0604020202020204" pitchFamily="34" charset="0"/>
              <a:buChar char="•"/>
            </a:pPr>
            <a:r>
              <a:rPr lang="nb-NO" dirty="0"/>
              <a:t>Gjerstad har ikke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Gjerstad har 5 lærekontrakter i kommunal sektor, og mangler 3 for å nå målsetningen.</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Gjerstad har 5 lærekontrakter per 1000 innbyggere i privat sektor (2024).</a:t>
            </a:r>
          </a:p>
          <a:p>
            <a:pPr marL="285750" indent="-285750">
              <a:buFont typeface="Arial" panose="020B0604020202020204" pitchFamily="34" charset="0"/>
              <a:buChar char="•"/>
            </a:pPr>
            <a:endParaRPr lang="nb-NO" dirty="0"/>
          </a:p>
          <a:p>
            <a:endParaRPr lang="nb-NO" dirty="0"/>
          </a:p>
          <a:p>
            <a:pPr marL="285750" indent="-285750" algn="l">
              <a:buFont typeface="Arial" panose="020B0604020202020204" pitchFamily="34" charset="0"/>
              <a:buChar char="•"/>
            </a:pPr>
            <a:endParaRPr lang="nb-NO" dirty="0"/>
          </a:p>
        </p:txBody>
      </p:sp>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DCDE7847-CC60-4D80-2585-87D32DF03919}"/>
              </a:ext>
            </a:extLst>
          </p:cNvPr>
          <p:cNvGraphicFramePr>
            <a:graphicFrameLocks/>
          </p:cNvGraphicFramePr>
          <p:nvPr>
            <p:extLst>
              <p:ext uri="{D42A27DB-BD31-4B8C-83A1-F6EECF244321}">
                <p14:modId xmlns:p14="http://schemas.microsoft.com/office/powerpoint/2010/main" val="3630594161"/>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Diagram 1" descr="Stolpediagram som viser antall lærekontrakter per 1000 innbyggere, privat sektor. Sammenligner alle kommuner i Agder.">
            <a:extLst>
              <a:ext uri="{FF2B5EF4-FFF2-40B4-BE49-F238E27FC236}">
                <a16:creationId xmlns:a16="http://schemas.microsoft.com/office/drawing/2014/main" id="{79A0F035-6E3E-5A03-587D-E8262889D0DF}"/>
              </a:ext>
            </a:extLst>
          </p:cNvPr>
          <p:cNvGraphicFramePr>
            <a:graphicFrameLocks/>
          </p:cNvGraphicFramePr>
          <p:nvPr>
            <p:extLst>
              <p:ext uri="{D42A27DB-BD31-4B8C-83A1-F6EECF244321}">
                <p14:modId xmlns:p14="http://schemas.microsoft.com/office/powerpoint/2010/main" val="3601999015"/>
              </p:ext>
            </p:extLst>
          </p:nvPr>
        </p:nvGraphicFramePr>
        <p:xfrm>
          <a:off x="5071384" y="3625216"/>
          <a:ext cx="6924674" cy="22088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51357" y="295469"/>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7E4CB53F-5721-F68D-099F-CA13F041DC21}"/>
              </a:ext>
            </a:extLst>
          </p:cNvPr>
          <p:cNvSpPr txBox="1"/>
          <p:nvPr/>
        </p:nvSpPr>
        <p:spPr>
          <a:xfrm>
            <a:off x="551678" y="5593484"/>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56F4A015-6B80-13EE-FBAD-6814452C53DB}"/>
              </a:ext>
            </a:extLst>
          </p:cNvPr>
          <p:cNvGraphicFramePr>
            <a:graphicFrameLocks noGrp="1"/>
          </p:cNvGraphicFramePr>
          <p:nvPr>
            <p:extLst>
              <p:ext uri="{D42A27DB-BD31-4B8C-83A1-F6EECF244321}">
                <p14:modId xmlns:p14="http://schemas.microsoft.com/office/powerpoint/2010/main" val="4087794472"/>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Gjerstad</a:t>
                      </a:r>
                    </a:p>
                  </a:txBody>
                  <a:tcPr anchor="ctr"/>
                </a:tc>
                <a:tc>
                  <a:txBody>
                    <a:bodyPr/>
                    <a:lstStyle/>
                    <a:p>
                      <a:pPr algn="ctr"/>
                      <a:r>
                        <a:rPr lang="nb-NO" sz="1400" b="0" dirty="0"/>
                        <a:t>34,0</a:t>
                      </a:r>
                    </a:p>
                  </a:txBody>
                  <a:tcPr anchor="ctr"/>
                </a:tc>
                <a:tc>
                  <a:txBody>
                    <a:bodyPr/>
                    <a:lstStyle/>
                    <a:p>
                      <a:pPr algn="ctr"/>
                      <a:r>
                        <a:rPr lang="nb-NO" sz="1400" b="0" dirty="0"/>
                        <a:t>19,1</a:t>
                      </a:r>
                    </a:p>
                  </a:txBody>
                  <a:tcPr anchor="ctr"/>
                </a:tc>
                <a:tc>
                  <a:txBody>
                    <a:bodyPr/>
                    <a:lstStyle/>
                    <a:p>
                      <a:pPr algn="ctr"/>
                      <a:r>
                        <a:rPr lang="nb-NO" sz="1400" b="0" dirty="0"/>
                        <a:t>52,8</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1FCDA8FA-9229-8218-EEF2-9421AF5F3FB7}"/>
              </a:ext>
            </a:extLst>
          </p:cNvPr>
          <p:cNvPicPr>
            <a:picLocks noChangeAspect="1"/>
          </p:cNvPicPr>
          <p:nvPr/>
        </p:nvPicPr>
        <p:blipFill>
          <a:blip r:embed="rId4"/>
          <a:stretch>
            <a:fillRect/>
          </a:stretch>
        </p:blipFill>
        <p:spPr>
          <a:xfrm>
            <a:off x="562104" y="1314370"/>
            <a:ext cx="4733795" cy="2660471"/>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81F04E1C-3D2F-F7FA-E11B-2C08CF941D76}"/>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4" y="1175211"/>
            <a:ext cx="3466148" cy="3416320"/>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3F6DA489-E162-470A-0266-703FD4791323}"/>
              </a:ext>
            </a:extLst>
          </p:cNvPr>
          <p:cNvSpPr txBox="1"/>
          <p:nvPr/>
        </p:nvSpPr>
        <p:spPr>
          <a:xfrm>
            <a:off x="692914" y="4978521"/>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520607241"/>
              </p:ext>
            </p:extLst>
          </p:nvPr>
        </p:nvGraphicFramePr>
        <p:xfrm>
          <a:off x="4354631" y="1226012"/>
          <a:ext cx="7486387" cy="441740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4" name="TekstSylinder 3">
            <a:extLst>
              <a:ext uri="{FF2B5EF4-FFF2-40B4-BE49-F238E27FC236}">
                <a16:creationId xmlns:a16="http://schemas.microsoft.com/office/drawing/2014/main" id="{B9D70EB9-0037-1CDD-E656-409BCE89234E}"/>
              </a:ext>
            </a:extLst>
          </p:cNvPr>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3238989207"/>
              </p:ext>
            </p:extLst>
          </p:nvPr>
        </p:nvGraphicFramePr>
        <p:xfrm>
          <a:off x="4069339" y="1210627"/>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3838775" cy="3970318"/>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3BCB24F4-A2F7-01AF-6A4B-F20D0AEDD71E}"/>
              </a:ext>
            </a:extLst>
          </p:cNvPr>
          <p:cNvSpPr txBox="1"/>
          <p:nvPr/>
        </p:nvSpPr>
        <p:spPr>
          <a:xfrm>
            <a:off x="731568" y="5383632"/>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292997679"/>
              </p:ext>
            </p:extLst>
          </p:nvPr>
        </p:nvGraphicFramePr>
        <p:xfrm>
          <a:off x="4624746" y="4421629"/>
          <a:ext cx="6835679"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894387589"/>
              </p:ext>
            </p:extLst>
          </p:nvPr>
        </p:nvGraphicFramePr>
        <p:xfrm>
          <a:off x="4624745" y="2623445"/>
          <a:ext cx="6835679"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2698086438"/>
              </p:ext>
            </p:extLst>
          </p:nvPr>
        </p:nvGraphicFramePr>
        <p:xfrm>
          <a:off x="4624744" y="815734"/>
          <a:ext cx="6835679" cy="162877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22" y="295900"/>
            <a:ext cx="535072" cy="668841"/>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Gjersta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834439219"/>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 (km</a:t>
                      </a:r>
                      <a:r>
                        <a:rPr lang="nb-NO" sz="1200" baseline="30000" dirty="0"/>
                        <a:t>2</a:t>
                      </a:r>
                      <a:r>
                        <a:rPr lang="nb-NO" sz="1200" dirty="0"/>
                        <a:t>)</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real</a:t>
                      </a:r>
                    </a:p>
                  </a:txBody>
                  <a:tcPr/>
                </a:tc>
                <a:tc>
                  <a:txBody>
                    <a:bodyPr/>
                    <a:lstStyle/>
                    <a:p>
                      <a:pPr algn="ctr"/>
                      <a:r>
                        <a:rPr lang="nb-NO" sz="1200" dirty="0"/>
                        <a:t>322,1</a:t>
                      </a:r>
                      <a:endParaRPr lang="nb-NO" sz="1200" baseline="30000" dirty="0"/>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305,9</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6,2</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dirty="0"/>
                        <a:t>16,2</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5,8</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24,3</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631963192"/>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Barneskoler</a:t>
                      </a:r>
                    </a:p>
                  </a:txBody>
                  <a:tcPr/>
                </a:tc>
                <a:tc>
                  <a:txBody>
                    <a:bodyPr/>
                    <a:lstStyle/>
                    <a:p>
                      <a:pPr algn="ctr"/>
                      <a:r>
                        <a:rPr lang="nb-NO" sz="1200" dirty="0">
                          <a:solidFill>
                            <a:schemeClr val="tx1"/>
                          </a:solidFill>
                        </a:rPr>
                        <a:t>1 (161 </a:t>
                      </a:r>
                      <a:r>
                        <a:rPr lang="nb-NO" sz="1200" baseline="0" dirty="0">
                          <a:solidFill>
                            <a:schemeClr val="tx1"/>
                          </a:solidFill>
                        </a:rPr>
                        <a:t>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Ungdomsskoler</a:t>
                      </a:r>
                    </a:p>
                  </a:txBody>
                  <a:tcPr/>
                </a:tc>
                <a:tc>
                  <a:txBody>
                    <a:bodyPr/>
                    <a:lstStyle/>
                    <a:p>
                      <a:pPr algn="ctr"/>
                      <a:r>
                        <a:rPr lang="nb-NO" sz="1200" dirty="0">
                          <a:solidFill>
                            <a:schemeClr val="tx1"/>
                          </a:solidFill>
                        </a:rPr>
                        <a:t>1 (82 elever)</a:t>
                      </a:r>
                    </a:p>
                  </a:txBody>
                  <a:tcPr/>
                </a:tc>
                <a:extLst>
                  <a:ext uri="{0D108BD9-81ED-4DB2-BD59-A6C34878D82A}">
                    <a16:rowId xmlns:a16="http://schemas.microsoft.com/office/drawing/2014/main" val="291333389"/>
                  </a:ext>
                </a:extLst>
              </a:tr>
              <a:tr h="312707">
                <a:tc>
                  <a:txBody>
                    <a:bodyPr/>
                    <a:lstStyle/>
                    <a:p>
                      <a:r>
                        <a:rPr lang="nb-NO" sz="1200"/>
                        <a:t>Videregående skoler</a:t>
                      </a:r>
                    </a:p>
                  </a:txBody>
                  <a:tcPr/>
                </a:tc>
                <a:tc>
                  <a:txBody>
                    <a:bodyPr/>
                    <a:lstStyle/>
                    <a:p>
                      <a:pPr algn="ct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dirty="0">
                          <a:solidFill>
                            <a:schemeClr val="tx1"/>
                          </a:solidFill>
                        </a:rPr>
                        <a:t>Gjersta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dirty="0"/>
                        <a:t>60</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2131434843"/>
              </p:ext>
            </p:extLst>
          </p:nvPr>
        </p:nvGraphicFramePr>
        <p:xfrm>
          <a:off x="4992520" y="1354711"/>
          <a:ext cx="3955547" cy="2188949"/>
        </p:xfrm>
        <a:graphic>
          <a:graphicData uri="http://schemas.openxmlformats.org/drawingml/2006/table">
            <a:tbl>
              <a:tblPr firstRow="1" bandRow="1">
                <a:tableStyleId>{7DF18680-E054-41AD-8BC1-D1AEF772440D}</a:tableStyleId>
              </a:tblPr>
              <a:tblGrid>
                <a:gridCol w="1962468">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2 444</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8,8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39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dirty="0"/>
                        <a:t>menn 44,2 - kvinner 45,6</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solidFill>
                            <a:schemeClr val="tx1"/>
                          </a:solidFill>
                        </a:rPr>
                        <a:t>menn 79,4 - kvinner 83,7 </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a:solidFill>
                            <a:schemeClr val="tx1"/>
                          </a:solidFill>
                        </a:rPr>
                        <a:t>Personer per husholdning</a:t>
                      </a:r>
                      <a:endParaRPr lang="nb-NO">
                        <a:solidFill>
                          <a:schemeClr val="tx1"/>
                        </a:solidFill>
                      </a:endParaRPr>
                    </a:p>
                  </a:txBody>
                  <a:tcPr/>
                </a:tc>
                <a:tc>
                  <a:txBody>
                    <a:bodyPr/>
                    <a:lstStyle/>
                    <a:p>
                      <a:pPr lvl="0" algn="ctr">
                        <a:buNone/>
                      </a:pPr>
                      <a:r>
                        <a:rPr lang="nb-NO" sz="1200" b="0" u="none" strike="noStrike" noProof="0" dirty="0">
                          <a:solidFill>
                            <a:schemeClr val="tx1"/>
                          </a:solidFill>
                        </a:rPr>
                        <a:t>2,03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971058035"/>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dministrasjonssenter</a:t>
                      </a:r>
                    </a:p>
                  </a:txBody>
                  <a:tcPr/>
                </a:tc>
                <a:tc>
                  <a:txBody>
                    <a:bodyPr/>
                    <a:lstStyle/>
                    <a:p>
                      <a:pPr algn="ctr"/>
                      <a:r>
                        <a:rPr lang="nb-NO" sz="1200" dirty="0">
                          <a:solidFill>
                            <a:schemeClr val="tx1"/>
                          </a:solidFill>
                        </a:rPr>
                        <a:t>Gjerstad</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Interkommunalt politisk</a:t>
                      </a:r>
                      <a:r>
                        <a:rPr lang="nb-NO" sz="1200" baseline="0"/>
                        <a:t> råd</a:t>
                      </a:r>
                      <a:endParaRPr lang="nb-NO" sz="1200" dirty="0"/>
                    </a:p>
                  </a:txBody>
                  <a:tcPr/>
                </a:tc>
                <a:tc>
                  <a:txBody>
                    <a:bodyPr/>
                    <a:lstStyle/>
                    <a:p>
                      <a:pPr algn="ctr"/>
                      <a:r>
                        <a:rPr lang="nb-NO" sz="1200" dirty="0"/>
                        <a:t>Østre Agder</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47,3</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39 Risør</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9"/>
            <a:ext cx="2904366" cy="5803817"/>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 </a:t>
            </a:r>
          </a:p>
        </p:txBody>
      </p:sp>
      <p:sp>
        <p:nvSpPr>
          <p:cNvPr id="3" name="Plassholder for innhold 2"/>
          <p:cNvSpPr>
            <a:spLocks noGrp="1"/>
          </p:cNvSpPr>
          <p:nvPr>
            <p:ph idx="1"/>
          </p:nvPr>
        </p:nvSpPr>
        <p:spPr>
          <a:xfrm>
            <a:off x="519866" y="1232689"/>
            <a:ext cx="3880684" cy="4736032"/>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6" name="TekstSylinder 5">
            <a:extLst>
              <a:ext uri="{FF2B5EF4-FFF2-40B4-BE49-F238E27FC236}">
                <a16:creationId xmlns:a16="http://schemas.microsoft.com/office/drawing/2014/main" id="{F1426CAF-290A-7F97-3A90-D19FA305414E}"/>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3725987179"/>
              </p:ext>
            </p:extLst>
          </p:nvPr>
        </p:nvGraphicFramePr>
        <p:xfrm>
          <a:off x="5142653" y="1322598"/>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2983760" cy="3833172"/>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4" name="TekstSylinder 3">
            <a:extLst>
              <a:ext uri="{FF2B5EF4-FFF2-40B4-BE49-F238E27FC236}">
                <a16:creationId xmlns:a16="http://schemas.microsoft.com/office/drawing/2014/main" id="{21D19885-C68F-716D-8B28-0F47473C83B3}"/>
              </a:ext>
            </a:extLst>
          </p:cNvPr>
          <p:cNvSpPr txBox="1"/>
          <p:nvPr/>
        </p:nvSpPr>
        <p:spPr>
          <a:xfrm>
            <a:off x="504365" y="5221335"/>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C9F74E3D-19D7-CFDC-A408-BB919D1BC3D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65856" y="1276712"/>
            <a:ext cx="372796" cy="372796"/>
          </a:xfrm>
          <a:prstGeom prst="rect">
            <a:avLst/>
          </a:prstGeom>
        </p:spPr>
      </p:pic>
      <p:pic>
        <p:nvPicPr>
          <p:cNvPr id="8" name="Graphic 8">
            <a:extLst>
              <a:ext uri="{FF2B5EF4-FFF2-40B4-BE49-F238E27FC236}">
                <a16:creationId xmlns:a16="http://schemas.microsoft.com/office/drawing/2014/main" id="{D8E75CF3-BF4B-EA96-7FD2-5F7F13EEB06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73719" y="1229748"/>
            <a:ext cx="372796" cy="372796"/>
          </a:xfrm>
          <a:prstGeom prst="rect">
            <a:avLst/>
          </a:prstGeom>
        </p:spPr>
      </p:pic>
      <p:pic>
        <p:nvPicPr>
          <p:cNvPr id="9" name="Graphic 10">
            <a:extLst>
              <a:ext uri="{FF2B5EF4-FFF2-40B4-BE49-F238E27FC236}">
                <a16:creationId xmlns:a16="http://schemas.microsoft.com/office/drawing/2014/main" id="{24D83ABF-A55D-3303-8524-684AD91E4900}"/>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23885" y="1271542"/>
            <a:ext cx="372796" cy="372796"/>
          </a:xfrm>
          <a:prstGeom prst="rect">
            <a:avLst/>
          </a:prstGeom>
        </p:spPr>
      </p:pic>
      <p:pic>
        <p:nvPicPr>
          <p:cNvPr id="10" name="Graphic 12">
            <a:extLst>
              <a:ext uri="{FF2B5EF4-FFF2-40B4-BE49-F238E27FC236}">
                <a16:creationId xmlns:a16="http://schemas.microsoft.com/office/drawing/2014/main" id="{2BEBB111-7B73-AC31-0042-4B37372A00FA}"/>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21726" y="1228414"/>
            <a:ext cx="366290" cy="366290"/>
          </a:xfrm>
          <a:prstGeom prst="rect">
            <a:avLst/>
          </a:prstGeom>
        </p:spPr>
      </p:pic>
      <p:pic>
        <p:nvPicPr>
          <p:cNvPr id="11" name="Graphic 13">
            <a:extLst>
              <a:ext uri="{FF2B5EF4-FFF2-40B4-BE49-F238E27FC236}">
                <a16:creationId xmlns:a16="http://schemas.microsoft.com/office/drawing/2014/main" id="{D988B499-7D3E-F48B-452A-C536EDE9412B}"/>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14128" y="1203764"/>
            <a:ext cx="423388" cy="423388"/>
          </a:xfrm>
          <a:prstGeom prst="rect">
            <a:avLst/>
          </a:prstGeom>
        </p:spPr>
      </p:pic>
      <p:graphicFrame>
        <p:nvGraphicFramePr>
          <p:cNvPr id="5" name="Chart 17" descr="Stolpediagram som viser elektrifiseringsgrad per sektor.">
            <a:extLst>
              <a:ext uri="{FF2B5EF4-FFF2-40B4-BE49-F238E27FC236}">
                <a16:creationId xmlns:a16="http://schemas.microsoft.com/office/drawing/2014/main" id="{C42B3858-0AA0-2354-2DD0-92C6E96A6D73}"/>
              </a:ext>
            </a:extLst>
          </p:cNvPr>
          <p:cNvGraphicFramePr>
            <a:graphicFrameLocks/>
          </p:cNvGraphicFramePr>
          <p:nvPr>
            <p:extLst>
              <p:ext uri="{D42A27DB-BD31-4B8C-83A1-F6EECF244321}">
                <p14:modId xmlns:p14="http://schemas.microsoft.com/office/powerpoint/2010/main" val="3704184176"/>
              </p:ext>
            </p:extLst>
          </p:nvPr>
        </p:nvGraphicFramePr>
        <p:xfrm>
          <a:off x="3720899" y="1482277"/>
          <a:ext cx="8471101" cy="414080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8080EF34-50A9-1DE3-B0B8-FBD41B2E9961}"/>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F65D2562-10D8-79D7-85C4-8CEFF9596AD8}"/>
              </a:ext>
            </a:extLst>
          </p:cNvPr>
          <p:cNvPicPr/>
          <p:nvPr/>
        </p:nvPicPr>
        <p:blipFill>
          <a:blip r:embed="rId6"/>
          <a:stretch>
            <a:fillRect/>
          </a:stretch>
        </p:blipFill>
        <p:spPr>
          <a:xfrm>
            <a:off x="-1439863"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72D1F57A-A92F-722D-9E95-0A60AFBD7865}"/>
              </a:ext>
            </a:extLst>
          </p:cNvPr>
          <p:cNvPicPr/>
          <p:nvPr/>
        </p:nvPicPr>
        <p:blipFill>
          <a:blip r:embed="rId7"/>
          <a:stretch>
            <a:fillRect/>
          </a:stretch>
        </p:blipFill>
        <p:spPr>
          <a:xfrm>
            <a:off x="6559550"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4BC113E7-CA6C-8FF4-24B3-ACB92DE2D636}"/>
              </a:ext>
            </a:extLst>
          </p:cNvPr>
          <p:cNvPicPr/>
          <p:nvPr/>
        </p:nvPicPr>
        <p:blipFill>
          <a:blip r:embed="rId8"/>
          <a:stretch>
            <a:fillRect/>
          </a:stretch>
        </p:blipFill>
        <p:spPr>
          <a:xfrm>
            <a:off x="248285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a:t>
            </a:r>
            <a:r>
              <a:rPr lang="nb-NO" dirty="0">
                <a:solidFill>
                  <a:srgbClr val="000000"/>
                </a:solidFill>
                <a:latin typeface="Arial" panose="020B0604020202020204" pitchFamily="34" charset="0"/>
              </a:rPr>
              <a:t>84 </a:t>
            </a:r>
            <a:r>
              <a:rPr lang="nb-NO" b="0" i="0" dirty="0">
                <a:solidFill>
                  <a:srgbClr val="000000"/>
                </a:solidFill>
                <a:effectLst/>
                <a:latin typeface="Arial" panose="020B0604020202020204" pitchFamily="34" charset="0"/>
              </a:rPr>
              <a:t>% av Gjerstad dekket av skog,     5 % ferskvann</a:t>
            </a:r>
            <a:r>
              <a:rPr lang="nb-NO" dirty="0">
                <a:solidFill>
                  <a:srgbClr val="000000"/>
                </a:solidFill>
                <a:latin typeface="Arial" panose="020B0604020202020204" pitchFamily="34" charset="0"/>
              </a:rPr>
              <a:t>, 5 % myr, </a:t>
            </a:r>
            <a:r>
              <a:rPr lang="nb-NO" b="0" i="0" dirty="0">
                <a:solidFill>
                  <a:srgbClr val="000000"/>
                </a:solidFill>
                <a:effectLst/>
                <a:latin typeface="Arial" panose="020B0604020202020204" pitchFamily="34" charset="0"/>
              </a:rPr>
              <a:t>mens fulldyrka jord utgjør 1,4 %. Bebygd areal og samferdsel utgjør til sammen 2,0 %. </a:t>
            </a:r>
            <a:endParaRPr lang="nb-NO" dirty="0"/>
          </a:p>
        </p:txBody>
      </p:sp>
      <p:pic>
        <p:nvPicPr>
          <p:cNvPr id="5" name="Bilde 4" descr="Stolpediagram som viser antall dekar per arealtype i kommunen.">
            <a:extLst>
              <a:ext uri="{FF2B5EF4-FFF2-40B4-BE49-F238E27FC236}">
                <a16:creationId xmlns:a16="http://schemas.microsoft.com/office/drawing/2014/main" id="{09A42DB0-8287-CBF1-9138-C8B4D6204F0C}"/>
              </a:ext>
            </a:extLst>
          </p:cNvPr>
          <p:cNvPicPr>
            <a:picLocks noChangeAspect="1"/>
          </p:cNvPicPr>
          <p:nvPr/>
        </p:nvPicPr>
        <p:blipFill>
          <a:blip r:embed="rId3"/>
          <a:stretch>
            <a:fillRect/>
          </a:stretch>
        </p:blipFill>
        <p:spPr>
          <a:xfrm>
            <a:off x="446522" y="2752165"/>
            <a:ext cx="5095875" cy="3048000"/>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8 % av arealet i Gjerstad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4226713867"/>
              </p:ext>
            </p:extLst>
          </p:nvPr>
        </p:nvGraphicFramePr>
        <p:xfrm>
          <a:off x="5978284" y="2752166"/>
          <a:ext cx="6040247" cy="3048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2" y="267705"/>
            <a:ext cx="10153651"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Gjerstad har satt av store areal, og da </a:t>
            </a:r>
            <a:r>
              <a:rPr lang="nn-NO" sz="2000" dirty="0" err="1"/>
              <a:t>særlig</a:t>
            </a:r>
            <a:r>
              <a:rPr lang="nn-NO" sz="2000" dirty="0"/>
              <a:t> til </a:t>
            </a:r>
            <a:r>
              <a:rPr lang="nn-NO" sz="2000" dirty="0" err="1"/>
              <a:t>fritidsbebyggelse</a:t>
            </a:r>
            <a:r>
              <a:rPr lang="nn-NO" sz="2000" dirty="0"/>
              <a:t>. </a:t>
            </a:r>
          </a:p>
          <a:p>
            <a:r>
              <a:rPr lang="nn-NO" sz="2000" dirty="0"/>
              <a:t>Samla er det satt av byggeområde i natur tilsvarande 1,4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a:t>
            </a:r>
            <a:r>
              <a:rPr lang="nn-NO" sz="2000"/>
              <a:t>meir enn 3 </a:t>
            </a:r>
            <a:r>
              <a:rPr lang="nn-NO" sz="2000" dirty="0"/>
              <a:t>000 dekar skog </a:t>
            </a:r>
            <a:r>
              <a:rPr lang="nn-NO" sz="2000"/>
              <a:t>og nesten 100 </a:t>
            </a:r>
            <a:r>
              <a:rPr lang="nn-NO" sz="2000" dirty="0"/>
              <a:t>dekar myr.</a:t>
            </a:r>
          </a:p>
          <a:p>
            <a:endParaRPr lang="nb-NO"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9AE44981-240C-6A78-92EB-9713E968E2C8}"/>
              </a:ext>
            </a:extLst>
          </p:cNvPr>
          <p:cNvPicPr>
            <a:picLocks noChangeAspect="1"/>
          </p:cNvPicPr>
          <p:nvPr/>
        </p:nvPicPr>
        <p:blipFill>
          <a:blip r:embed="rId4"/>
          <a:stretch>
            <a:fillRect/>
          </a:stretch>
        </p:blipFill>
        <p:spPr>
          <a:xfrm>
            <a:off x="5555653" y="658213"/>
            <a:ext cx="6571439" cy="5209847"/>
          </a:xfrm>
          <a:prstGeom prst="rect">
            <a:avLst/>
          </a:prstGeom>
        </p:spPr>
      </p:pic>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350 bruksenheter til fritid i Gjerstad, og ca. 530 eiere (alle eierandeler inkludert).</a:t>
            </a:r>
          </a:p>
          <a:p>
            <a:endParaRPr lang="nb-NO" sz="2000" dirty="0"/>
          </a:p>
          <a:p>
            <a:r>
              <a:rPr lang="nb-NO" sz="2000" dirty="0"/>
              <a:t>Gjerstad er største «hytteeierkommune».</a:t>
            </a:r>
          </a:p>
          <a:p>
            <a:endParaRPr lang="nb-NO" sz="2000" dirty="0"/>
          </a:p>
          <a:p>
            <a:r>
              <a:rPr lang="nb-NO" sz="2000" dirty="0"/>
              <a:t>Figur gir en oversikt på antall hytteeiere fordelt på kommuner.</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F64D38E7-2B38-C33E-F56C-ADFDE262CB33}"/>
              </a:ext>
            </a:extLst>
          </p:cNvPr>
          <p:cNvPicPr>
            <a:picLocks noChangeAspect="1"/>
          </p:cNvPicPr>
          <p:nvPr/>
        </p:nvPicPr>
        <p:blipFill>
          <a:blip r:embed="rId3"/>
          <a:stretch>
            <a:fillRect/>
          </a:stretch>
        </p:blipFill>
        <p:spPr>
          <a:xfrm>
            <a:off x="5930397" y="1143000"/>
            <a:ext cx="4381500" cy="457200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296092" y="4888852"/>
            <a:ext cx="5171454" cy="1077218"/>
          </a:xfrm>
          <a:prstGeom prst="rect">
            <a:avLst/>
          </a:prstGeom>
          <a:noFill/>
        </p:spPr>
        <p:txBody>
          <a:bodyPr wrap="square" rtlCol="0">
            <a:spAutoFit/>
          </a:bodyPr>
          <a:lstStyle/>
          <a:p>
            <a:pPr algn="l"/>
            <a:r>
              <a:rPr lang="nb-NO" sz="1600" dirty="0"/>
              <a:t>SSB spår svak befolkningsutvikling i Gjerstad som følge av negativt fødselsoverskudd og negativ innenlands flytting. Positiv netto innvandring spås ikke å oppveie for dette. </a:t>
            </a:r>
          </a:p>
        </p:txBody>
      </p:sp>
      <p:sp>
        <p:nvSpPr>
          <p:cNvPr id="8" name="TekstSylinder 7"/>
          <p:cNvSpPr txBox="1"/>
          <p:nvPr/>
        </p:nvSpPr>
        <p:spPr>
          <a:xfrm>
            <a:off x="5963814" y="4888852"/>
            <a:ext cx="5964822"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2,7 til 2,0 i 2040. Aldringen er vesentlig sterkere i Gjerstad enn snittet for Agder. </a:t>
            </a:r>
          </a:p>
        </p:txBody>
      </p:sp>
      <p:sp>
        <p:nvSpPr>
          <p:cNvPr id="5" name="TekstSylinder 4">
            <a:extLst>
              <a:ext uri="{FF2B5EF4-FFF2-40B4-BE49-F238E27FC236}">
                <a16:creationId xmlns:a16="http://schemas.microsoft.com/office/drawing/2014/main" id="{3231F0EE-D07B-8452-3AEB-E4DC02285281}"/>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Et bilde som inneholder tekst, Plottdiagram, line, diagram&#10;&#10;Automatisk generert beskrivelse">
            <a:extLst>
              <a:ext uri="{FF2B5EF4-FFF2-40B4-BE49-F238E27FC236}">
                <a16:creationId xmlns:a16="http://schemas.microsoft.com/office/drawing/2014/main" id="{EE473E3C-08C4-773C-E8A2-D476A1A1A92C}"/>
              </a:ext>
            </a:extLst>
          </p:cNvPr>
          <p:cNvPicPr>
            <a:picLocks noChangeAspect="1"/>
          </p:cNvPicPr>
          <p:nvPr/>
        </p:nvPicPr>
        <p:blipFill>
          <a:blip r:embed="rId4"/>
          <a:stretch>
            <a:fillRect/>
          </a:stretch>
        </p:blipFill>
        <p:spPr>
          <a:xfrm>
            <a:off x="299832" y="1198810"/>
            <a:ext cx="5166598" cy="3479006"/>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3A774C98-8476-A465-8ADA-D48742EEDE17}"/>
              </a:ext>
            </a:extLst>
          </p:cNvPr>
          <p:cNvPicPr>
            <a:picLocks noChangeAspect="1"/>
          </p:cNvPicPr>
          <p:nvPr/>
        </p:nvPicPr>
        <p:blipFill>
          <a:blip r:embed="rId5"/>
          <a:stretch>
            <a:fillRect/>
          </a:stretch>
        </p:blipFill>
        <p:spPr>
          <a:xfrm>
            <a:off x="5963814" y="1279018"/>
            <a:ext cx="6067709" cy="3264407"/>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a:t>
            </a:r>
          </a:p>
        </p:txBody>
      </p:sp>
      <p:sp>
        <p:nvSpPr>
          <p:cNvPr id="5" name="TekstSylinder 4"/>
          <p:cNvSpPr txBox="1"/>
          <p:nvPr/>
        </p:nvSpPr>
        <p:spPr>
          <a:xfrm>
            <a:off x="496763" y="1197551"/>
            <a:ext cx="5873892" cy="3970318"/>
          </a:xfrm>
          <a:prstGeom prst="rect">
            <a:avLst/>
          </a:prstGeom>
          <a:noFill/>
        </p:spPr>
        <p:txBody>
          <a:bodyPr wrap="square" rtlCol="0">
            <a:spAutoFit/>
          </a:bodyPr>
          <a:lstStyle/>
          <a:p>
            <a:r>
              <a:rPr lang="nb-NO" dirty="0"/>
              <a:t>Fra 2018 til 2023 falt folketallet i Gjerstad med 46 personer (-1,9 %). Allikevel opplevde flere grunnkretser vekst: </a:t>
            </a:r>
            <a:r>
              <a:rPr lang="nb-NO" dirty="0" err="1"/>
              <a:t>Brokeland</a:t>
            </a:r>
            <a:r>
              <a:rPr lang="nb-NO" dirty="0"/>
              <a:t> (21), Sunde (11) og </a:t>
            </a:r>
            <a:r>
              <a:rPr lang="nb-NO" dirty="0" err="1"/>
              <a:t>Løite</a:t>
            </a:r>
            <a:r>
              <a:rPr lang="nb-NO" dirty="0"/>
              <a:t> (13).</a:t>
            </a:r>
          </a:p>
          <a:p>
            <a:endParaRPr lang="nb-NO" dirty="0"/>
          </a:p>
          <a:p>
            <a:r>
              <a:rPr lang="nb-NO" dirty="0"/>
              <a:t>Samtidig har det vært nedgang i mindre sentrale områder. I mange kommuner er det slik at tettsteder og byer vokser mer eller mindre uavhengig av utviklingen i kommunen totalt sett, men Gjerstad skiller seg ut ved at administrasjonssenteret har svak vekst. </a:t>
            </a:r>
          </a:p>
          <a:p>
            <a:endParaRPr lang="nb-NO" dirty="0"/>
          </a:p>
          <a:p>
            <a:r>
              <a:rPr lang="nb-NO" dirty="0"/>
              <a:t>Innvandring til byene, aldring, og søken etter nærhet til service/tjenester​ og arbeidsmarked​ er vanlige forklaringer på at trykket er størst i de sentrale områdene i en kommune. </a:t>
            </a:r>
          </a:p>
        </p:txBody>
      </p:sp>
      <p:pic>
        <p:nvPicPr>
          <p:cNvPr id="4" name="Plassholder for innhold 3" descr="Bilde av kart. Kartet er laget på grunnlag av SSB's rutenettstatistikk."/>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152399"/>
            <a:ext cx="5404732" cy="5846465"/>
          </a:xfrm>
        </p:spPr>
      </p:pic>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91299" y="316772"/>
            <a:ext cx="4769161" cy="685606"/>
          </a:xfrm>
        </p:spPr>
        <p:txBody>
          <a:bodyPr/>
          <a:lstStyle/>
          <a:p>
            <a:r>
              <a:rPr lang="nb-NO" dirty="0"/>
              <a:t>Boligbygging 		</a:t>
            </a:r>
          </a:p>
        </p:txBody>
      </p:sp>
      <p:sp>
        <p:nvSpPr>
          <p:cNvPr id="7" name="Plassholder for innhold 2"/>
          <p:cNvSpPr txBox="1">
            <a:spLocks/>
          </p:cNvSpPr>
          <p:nvPr/>
        </p:nvSpPr>
        <p:spPr>
          <a:xfrm>
            <a:off x="508889" y="1221115"/>
            <a:ext cx="5362259" cy="949596"/>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7 boliger i året, hvorav ca. 21 % var eneboliger.</a:t>
            </a:r>
          </a:p>
        </p:txBody>
      </p:sp>
      <p:sp>
        <p:nvSpPr>
          <p:cNvPr id="6" name="Tittel 1">
            <a:extLst>
              <a:ext uri="{FF2B5EF4-FFF2-40B4-BE49-F238E27FC236}">
                <a16:creationId xmlns:a16="http://schemas.microsoft.com/office/drawing/2014/main" id="{0DC9DFEF-E009-4FBA-57BE-2D1AA3F60B7E}"/>
              </a:ext>
            </a:extLst>
          </p:cNvPr>
          <p:cNvSpPr txBox="1">
            <a:spLocks/>
          </p:cNvSpPr>
          <p:nvPr/>
        </p:nvSpPr>
        <p:spPr>
          <a:xfrm>
            <a:off x="6519128" y="316772"/>
            <a:ext cx="4769161"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1 317 boliger i kommunen (bebodde og ubebodde).</a:t>
            </a:r>
          </a:p>
        </p:txBody>
      </p:sp>
      <p:sp>
        <p:nvSpPr>
          <p:cNvPr id="5" name="TekstSylinder 4">
            <a:extLst>
              <a:ext uri="{FF2B5EF4-FFF2-40B4-BE49-F238E27FC236}">
                <a16:creationId xmlns:a16="http://schemas.microsoft.com/office/drawing/2014/main" id="{880070C5-FF4E-789B-81ED-9DE4648C451B}"/>
              </a:ext>
            </a:extLst>
          </p:cNvPr>
          <p:cNvSpPr txBox="1"/>
          <p:nvPr/>
        </p:nvSpPr>
        <p:spPr>
          <a:xfrm>
            <a:off x="9549988" y="6274702"/>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387667969"/>
              </p:ext>
            </p:extLst>
          </p:nvPr>
        </p:nvGraphicFramePr>
        <p:xfrm>
          <a:off x="691299" y="2389448"/>
          <a:ext cx="500549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2169598026"/>
              </p:ext>
            </p:extLst>
          </p:nvPr>
        </p:nvGraphicFramePr>
        <p:xfrm>
          <a:off x="6226035" y="2389447"/>
          <a:ext cx="5747385" cy="324743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65174"/>
            <a:ext cx="10153651" cy="685606"/>
          </a:xfrm>
        </p:spPr>
        <p:txBody>
          <a:bodyPr/>
          <a:lstStyle/>
          <a:p>
            <a:r>
              <a:rPr lang="nb-NO" dirty="0"/>
              <a:t>Sysselsetting</a:t>
            </a:r>
          </a:p>
        </p:txBody>
      </p:sp>
      <p:sp>
        <p:nvSpPr>
          <p:cNvPr id="5" name="Plassholder for innhold 3"/>
          <p:cNvSpPr>
            <a:spLocks noGrp="1"/>
          </p:cNvSpPr>
          <p:nvPr>
            <p:ph sz="half" idx="1"/>
          </p:nvPr>
        </p:nvSpPr>
        <p:spPr>
          <a:xfrm>
            <a:off x="573578" y="1079110"/>
            <a:ext cx="5277911" cy="2868300"/>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Gjerstad:</a:t>
            </a:r>
          </a:p>
          <a:p>
            <a:r>
              <a:rPr lang="nb-NO" sz="2000" dirty="0"/>
              <a:t>Lavere sysselsettingsandel enn fylket for øvrig. Sysselsettingsandelen er betydelig lavere for kvinner.</a:t>
            </a:r>
          </a:p>
          <a:p>
            <a:endParaRPr lang="nb-NO" sz="2000" dirty="0"/>
          </a:p>
        </p:txBody>
      </p:sp>
      <p:graphicFrame>
        <p:nvGraphicFramePr>
          <p:cNvPr id="6" name="Tabell 5"/>
          <p:cNvGraphicFramePr>
            <a:graphicFrameLocks noGrp="1"/>
          </p:cNvGraphicFramePr>
          <p:nvPr>
            <p:extLst>
              <p:ext uri="{D42A27DB-BD31-4B8C-83A1-F6EECF244321}">
                <p14:modId xmlns:p14="http://schemas.microsoft.com/office/powerpoint/2010/main" val="1415191552"/>
              </p:ext>
            </p:extLst>
          </p:nvPr>
        </p:nvGraphicFramePr>
        <p:xfrm>
          <a:off x="573578" y="4030039"/>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69427">
                <a:tc>
                  <a:txBody>
                    <a:bodyPr/>
                    <a:lstStyle/>
                    <a:p>
                      <a:pPr algn="ctr"/>
                      <a:r>
                        <a:rPr lang="nb-NO" sz="1400" dirty="0"/>
                        <a:t>Gjerstad</a:t>
                      </a:r>
                      <a:endParaRPr lang="nb-NO" sz="1400" b="1" dirty="0"/>
                    </a:p>
                  </a:txBody>
                  <a:tcPr anchor="ctr"/>
                </a:tc>
                <a:tc>
                  <a:txBody>
                    <a:bodyPr/>
                    <a:lstStyle/>
                    <a:p>
                      <a:pPr algn="ctr"/>
                      <a:r>
                        <a:rPr lang="nb-NO" sz="1400" dirty="0"/>
                        <a:t>70,0</a:t>
                      </a:r>
                      <a:endParaRPr lang="nb-NO" sz="1400" b="1" dirty="0"/>
                    </a:p>
                  </a:txBody>
                  <a:tcPr anchor="ctr"/>
                </a:tc>
                <a:tc>
                  <a:txBody>
                    <a:bodyPr/>
                    <a:lstStyle/>
                    <a:p>
                      <a:pPr algn="ctr"/>
                      <a:r>
                        <a:rPr lang="nb-NO" sz="1400" dirty="0"/>
                        <a:t>74,1</a:t>
                      </a:r>
                      <a:endParaRPr lang="nb-NO" sz="1400" b="1" dirty="0"/>
                    </a:p>
                  </a:txBody>
                  <a:tcPr anchor="ctr"/>
                </a:tc>
                <a:tc>
                  <a:txBody>
                    <a:bodyPr/>
                    <a:lstStyle/>
                    <a:p>
                      <a:pPr algn="ctr"/>
                      <a:r>
                        <a:rPr lang="nb-NO" sz="1400" dirty="0"/>
                        <a:t>65,5</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4" name="TekstSylinder 3">
            <a:extLst>
              <a:ext uri="{FF2B5EF4-FFF2-40B4-BE49-F238E27FC236}">
                <a16:creationId xmlns:a16="http://schemas.microsoft.com/office/drawing/2014/main" id="{0A8B5166-6B04-424C-EDF0-9989FD4F69F5}"/>
              </a:ext>
            </a:extLst>
          </p:cNvPr>
          <p:cNvSpPr txBox="1"/>
          <p:nvPr/>
        </p:nvSpPr>
        <p:spPr>
          <a:xfrm>
            <a:off x="508089" y="5620546"/>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1552B6A7-724F-2FB9-86BD-17AA08B272F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Bilde 41" descr="Et bilde som viser de viktigste pendlingsrelasjonene for kommunen.">
            <a:extLst>
              <a:ext uri="{FF2B5EF4-FFF2-40B4-BE49-F238E27FC236}">
                <a16:creationId xmlns:a16="http://schemas.microsoft.com/office/drawing/2014/main" id="{1209CF0C-C762-69D0-ADDD-E7449A15A560}"/>
              </a:ext>
            </a:extLst>
          </p:cNvPr>
          <p:cNvPicPr>
            <a:picLocks noChangeAspect="1"/>
          </p:cNvPicPr>
          <p:nvPr/>
        </p:nvPicPr>
        <p:blipFill>
          <a:blip r:embed="rId4"/>
          <a:stretch>
            <a:fillRect/>
          </a:stretch>
        </p:blipFill>
        <p:spPr>
          <a:xfrm>
            <a:off x="1429289" y="2556426"/>
            <a:ext cx="4636087" cy="3394812"/>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4"/>
            <a:ext cx="6566670" cy="1619154"/>
          </a:xfrm>
        </p:spPr>
        <p:txBody>
          <a:bodyPr>
            <a:noAutofit/>
          </a:bodyPr>
          <a:lstStyle/>
          <a:p>
            <a:r>
              <a:rPr lang="nb-NO" sz="2000" dirty="0"/>
              <a:t>Gjerstad hører til Risør bo- og arbeidsmarkedsregion, og 15 % av de sysselsatte i Gjerstad hadde arbeidssted i Risør per 4. kvartal 2023 (SSB). 46 % jobber i egen kommune, og 11 % jobber i Vestfold og Telemark.</a:t>
            </a:r>
          </a:p>
          <a:p>
            <a:endParaRPr lang="nb-NO" sz="2000" i="1" dirty="0"/>
          </a:p>
        </p:txBody>
      </p:sp>
      <p:sp>
        <p:nvSpPr>
          <p:cNvPr id="29" name="TekstSylinder 28"/>
          <p:cNvSpPr txBox="1"/>
          <p:nvPr/>
        </p:nvSpPr>
        <p:spPr>
          <a:xfrm>
            <a:off x="342385" y="3691662"/>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A23F26A9-46A7-6FE8-8515-362FBDDAE68B}"/>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ansattutvikling</a:t>
            </a:r>
          </a:p>
        </p:txBody>
      </p:sp>
      <p:sp>
        <p:nvSpPr>
          <p:cNvPr id="10" name="TekstSylinder 9"/>
          <p:cNvSpPr txBox="1"/>
          <p:nvPr/>
        </p:nvSpPr>
        <p:spPr>
          <a:xfrm>
            <a:off x="582463" y="4562397"/>
            <a:ext cx="5865341" cy="1323439"/>
          </a:xfrm>
          <a:prstGeom prst="rect">
            <a:avLst/>
          </a:prstGeom>
          <a:noFill/>
        </p:spPr>
        <p:txBody>
          <a:bodyPr wrap="square" rtlCol="0">
            <a:spAutoFit/>
          </a:bodyPr>
          <a:lstStyle/>
          <a:p>
            <a:pPr algn="l"/>
            <a:r>
              <a:rPr lang="nb-NO" sz="1600" dirty="0"/>
              <a:t>Gjerstad har en større andel ansatte i privat sektor sammenlignet med Agder og Norge. </a:t>
            </a:r>
          </a:p>
          <a:p>
            <a:pPr algn="l"/>
            <a:endParaRPr lang="nb-NO" sz="1600" dirty="0"/>
          </a:p>
          <a:p>
            <a:pPr algn="l"/>
            <a:r>
              <a:rPr lang="nb-NO" sz="1600" dirty="0"/>
              <a:t>Antall ansatte i privat sektor har økt med ca. 170 personer siden 2018.</a:t>
            </a:r>
          </a:p>
        </p:txBody>
      </p:sp>
      <p:graphicFrame>
        <p:nvGraphicFramePr>
          <p:cNvPr id="8" name="Tabell 7">
            <a:extLst>
              <a:ext uri="{FF2B5EF4-FFF2-40B4-BE49-F238E27FC236}">
                <a16:creationId xmlns:a16="http://schemas.microsoft.com/office/drawing/2014/main" id="{19C2B1CC-D69E-38E2-B6EE-92BDA4CA6682}"/>
              </a:ext>
            </a:extLst>
          </p:cNvPr>
          <p:cNvGraphicFramePr>
            <a:graphicFrameLocks noGrp="1"/>
          </p:cNvGraphicFramePr>
          <p:nvPr>
            <p:extLst>
              <p:ext uri="{D42A27DB-BD31-4B8C-83A1-F6EECF244321}">
                <p14:modId xmlns:p14="http://schemas.microsoft.com/office/powerpoint/2010/main" val="897750869"/>
              </p:ext>
            </p:extLst>
          </p:nvPr>
        </p:nvGraphicFramePr>
        <p:xfrm>
          <a:off x="7368382" y="4562397"/>
          <a:ext cx="4649447" cy="1248255"/>
        </p:xfrm>
        <a:graphic>
          <a:graphicData uri="http://schemas.openxmlformats.org/drawingml/2006/table">
            <a:tbl>
              <a:tblPr firstRow="1"/>
              <a:tblGrid>
                <a:gridCol w="1812940">
                  <a:extLst>
                    <a:ext uri="{9D8B030D-6E8A-4147-A177-3AD203B41FA5}">
                      <a16:colId xmlns:a16="http://schemas.microsoft.com/office/drawing/2014/main" val="2734911068"/>
                    </a:ext>
                  </a:extLst>
                </a:gridCol>
                <a:gridCol w="531845">
                  <a:extLst>
                    <a:ext uri="{9D8B030D-6E8A-4147-A177-3AD203B41FA5}">
                      <a16:colId xmlns:a16="http://schemas.microsoft.com/office/drawing/2014/main" val="1572466864"/>
                    </a:ext>
                  </a:extLst>
                </a:gridCol>
                <a:gridCol w="503853">
                  <a:extLst>
                    <a:ext uri="{9D8B030D-6E8A-4147-A177-3AD203B41FA5}">
                      <a16:colId xmlns:a16="http://schemas.microsoft.com/office/drawing/2014/main" val="938310885"/>
                    </a:ext>
                  </a:extLst>
                </a:gridCol>
                <a:gridCol w="799390">
                  <a:extLst>
                    <a:ext uri="{9D8B030D-6E8A-4147-A177-3AD203B41FA5}">
                      <a16:colId xmlns:a16="http://schemas.microsoft.com/office/drawing/2014/main" val="580464324"/>
                    </a:ext>
                  </a:extLst>
                </a:gridCol>
                <a:gridCol w="1001419">
                  <a:extLst>
                    <a:ext uri="{9D8B030D-6E8A-4147-A177-3AD203B41FA5}">
                      <a16:colId xmlns:a16="http://schemas.microsoft.com/office/drawing/2014/main" val="1008742032"/>
                    </a:ext>
                  </a:extLst>
                </a:gridCol>
              </a:tblGrid>
              <a:tr h="121324">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Gjersta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2698057825"/>
                  </a:ext>
                </a:extLst>
              </a:tr>
              <a:tr h="121324">
                <a:tc>
                  <a:txBody>
                    <a:bodyPr/>
                    <a:lstStyle/>
                    <a:p>
                      <a:pPr algn="l" fontAlgn="b"/>
                      <a:r>
                        <a:rPr lang="nb-NO" sz="1000" b="1" i="0" u="none" strike="noStrike">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6050738"/>
                  </a:ext>
                </a:extLst>
              </a:tr>
              <a:tr h="200185">
                <a:tc>
                  <a:txBody>
                    <a:bodyPr/>
                    <a:lstStyle/>
                    <a:p>
                      <a:pPr algn="l" fontAlgn="b"/>
                      <a:r>
                        <a:rPr lang="nb-NO" sz="1000" b="0" i="0" u="none" strike="noStrike">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0676403"/>
                  </a:ext>
                </a:extLst>
              </a:tr>
              <a:tr h="200185">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6546791"/>
                  </a:ext>
                </a:extLst>
              </a:tr>
              <a:tr h="121324">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9316035"/>
                  </a:ext>
                </a:extLst>
              </a:tr>
              <a:tr h="200185">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3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3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3383761"/>
                  </a:ext>
                </a:extLst>
              </a:tr>
              <a:tr h="121324">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7,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1350657"/>
                  </a:ext>
                </a:extLst>
              </a:tr>
            </a:tbl>
          </a:graphicData>
        </a:graphic>
      </p:graphicFrame>
      <p:graphicFrame>
        <p:nvGraphicFramePr>
          <p:cNvPr id="3" name="Diagram 2"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3561473609"/>
              </p:ext>
            </p:extLst>
          </p:nvPr>
        </p:nvGraphicFramePr>
        <p:xfrm>
          <a:off x="582463" y="1345275"/>
          <a:ext cx="6115050" cy="31051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1682492232"/>
              </p:ext>
            </p:extLst>
          </p:nvPr>
        </p:nvGraphicFramePr>
        <p:xfrm>
          <a:off x="6805168" y="1345275"/>
          <a:ext cx="5229225" cy="321712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3A615458-A7B4-4AE6-AF35-E3F95075CF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E84CB8-E3BC-4ED1-9892-48BFB2DA6766}">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549b603a-3c19-46c1-8987-e792084663ae"/>
    <ds:schemaRef ds:uri="http://purl.org/dc/terms/"/>
    <ds:schemaRef ds:uri="dbde4e59-9b61-48a0-a4d9-cce2922754f5"/>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1902</TotalTime>
  <Words>2687</Words>
  <Application>Microsoft Office PowerPoint</Application>
  <PresentationFormat>Widescreen</PresentationFormat>
  <Paragraphs>358</Paragraphs>
  <Slides>25</Slides>
  <Notes>22</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Gjerstad</vt:lpstr>
      <vt:lpstr>Kjappe fakta om Gjerstad kommune</vt:lpstr>
      <vt:lpstr>Befolkning og demografi</vt:lpstr>
      <vt:lpstr>Befolkningsutvikling</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 </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238</cp:revision>
  <dcterms:created xsi:type="dcterms:W3CDTF">2021-09-13T19:20:02Z</dcterms:created>
  <dcterms:modified xsi:type="dcterms:W3CDTF">2024-12-16T09:4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